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0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1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2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3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4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5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6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7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8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19.xml" ContentType="application/vnd.openxmlformats-officedocument.theme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20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21.xml" ContentType="application/vnd.openxmlformats-officedocument.theme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22.xml" ContentType="application/vnd.openxmlformats-officedocument.theme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23.xml" ContentType="application/vnd.openxmlformats-officedocument.theme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24.xml" ContentType="application/vnd.openxmlformats-officedocument.theme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25.xml" ContentType="application/vnd.openxmlformats-officedocument.theme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26.xml" ContentType="application/vnd.openxmlformats-officedocument.theme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theme/theme27.xml" ContentType="application/vnd.openxmlformats-officedocument.theme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28.xml" ContentType="application/vnd.openxmlformats-officedocument.theme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theme/theme29.xml" ContentType="application/vnd.openxmlformats-officedocument.theme+xml"/>
  <Override PartName="/ppt/theme/theme30.xml" ContentType="application/vnd.openxmlformats-officedocument.theme+xml"/>
  <Override PartName="/ppt/theme/theme31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1" r:id="rId1"/>
    <p:sldMasterId id="2147483754" r:id="rId2"/>
    <p:sldMasterId id="2147483766" r:id="rId3"/>
    <p:sldMasterId id="2147483778" r:id="rId4"/>
    <p:sldMasterId id="2147483790" r:id="rId5"/>
    <p:sldMasterId id="2147483802" r:id="rId6"/>
    <p:sldMasterId id="2147483814" r:id="rId7"/>
    <p:sldMasterId id="2147483826" r:id="rId8"/>
    <p:sldMasterId id="2147483838" r:id="rId9"/>
    <p:sldMasterId id="2147483851" r:id="rId10"/>
    <p:sldMasterId id="2147483874" r:id="rId11"/>
    <p:sldMasterId id="2147483887" r:id="rId12"/>
    <p:sldMasterId id="2147483899" r:id="rId13"/>
    <p:sldMasterId id="2147483911" r:id="rId14"/>
    <p:sldMasterId id="2147483923" r:id="rId15"/>
    <p:sldMasterId id="2147483935" r:id="rId16"/>
    <p:sldMasterId id="2147483947" r:id="rId17"/>
    <p:sldMasterId id="2147483959" r:id="rId18"/>
    <p:sldMasterId id="2147483971" r:id="rId19"/>
    <p:sldMasterId id="2147483984" r:id="rId20"/>
    <p:sldMasterId id="2147483997" r:id="rId21"/>
    <p:sldMasterId id="2147484009" r:id="rId22"/>
    <p:sldMasterId id="2147484021" r:id="rId23"/>
    <p:sldMasterId id="2147484033" r:id="rId24"/>
    <p:sldMasterId id="2147484045" r:id="rId25"/>
    <p:sldMasterId id="2147484057" r:id="rId26"/>
    <p:sldMasterId id="2147484069" r:id="rId27"/>
    <p:sldMasterId id="2147484081" r:id="rId28"/>
    <p:sldMasterId id="2147484093" r:id="rId29"/>
  </p:sldMasterIdLst>
  <p:notesMasterIdLst>
    <p:notesMasterId r:id="rId38"/>
  </p:notesMasterIdLst>
  <p:handoutMasterIdLst>
    <p:handoutMasterId r:id="rId39"/>
  </p:handoutMasterIdLst>
  <p:sldIdLst>
    <p:sldId id="425" r:id="rId30"/>
    <p:sldId id="421" r:id="rId31"/>
    <p:sldId id="422" r:id="rId32"/>
    <p:sldId id="426" r:id="rId33"/>
    <p:sldId id="420" r:id="rId34"/>
    <p:sldId id="433" r:id="rId35"/>
    <p:sldId id="437" r:id="rId36"/>
    <p:sldId id="435" r:id="rId37"/>
  </p:sldIdLst>
  <p:sldSz cx="9906000" cy="6858000" type="A4"/>
  <p:notesSz cx="7010400" cy="9296400"/>
  <p:custDataLst>
    <p:tags r:id="rId4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9116"/>
    <a:srgbClr val="39842C"/>
    <a:srgbClr val="8CCB3C"/>
    <a:srgbClr val="FF0000"/>
    <a:srgbClr val="3333FF"/>
    <a:srgbClr val="99FF99"/>
    <a:srgbClr val="CCFFFF"/>
    <a:srgbClr val="FFCC99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99" autoAdjust="0"/>
    <p:restoredTop sz="85042" autoAdjust="0"/>
  </p:normalViewPr>
  <p:slideViewPr>
    <p:cSldViewPr>
      <p:cViewPr varScale="1">
        <p:scale>
          <a:sx n="64" d="100"/>
          <a:sy n="64" d="100"/>
        </p:scale>
        <p:origin x="1404" y="10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088" y="-102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5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4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3.xml"/><Relationship Id="rId37" Type="http://schemas.openxmlformats.org/officeDocument/2006/relationships/slide" Target="slides/slide8.xml"/><Relationship Id="rId40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7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2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1.xml"/><Relationship Id="rId35" Type="http://schemas.openxmlformats.org/officeDocument/2006/relationships/slide" Target="slides/slide6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038049" cy="46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4" tIns="46587" rIns="93174" bIns="46587" numCol="1" anchor="t" anchorCtr="0" compatLnSpc="1">
            <a:prstTxWarp prst="textNoShape">
              <a:avLst/>
            </a:prstTxWarp>
          </a:bodyPr>
          <a:lstStyle>
            <a:lvl1pPr defTabSz="931857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08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784" y="1"/>
            <a:ext cx="3038049" cy="46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4" tIns="46587" rIns="93174" bIns="46587" numCol="1" anchor="t" anchorCtr="0" compatLnSpc="1">
            <a:prstTxWarp prst="textNoShape">
              <a:avLst/>
            </a:prstTxWarp>
          </a:bodyPr>
          <a:lstStyle>
            <a:lvl1pPr algn="r" defTabSz="931857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09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30643"/>
            <a:ext cx="3038049" cy="46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4" tIns="46587" rIns="93174" bIns="46587" numCol="1" anchor="b" anchorCtr="0" compatLnSpc="1">
            <a:prstTxWarp prst="textNoShape">
              <a:avLst/>
            </a:prstTxWarp>
          </a:bodyPr>
          <a:lstStyle>
            <a:lvl1pPr defTabSz="931857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09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784" y="8830643"/>
            <a:ext cx="3038049" cy="46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4" tIns="46587" rIns="93174" bIns="46587" numCol="1" anchor="b" anchorCtr="0" compatLnSpc="1">
            <a:prstTxWarp prst="textNoShape">
              <a:avLst/>
            </a:prstTxWarp>
          </a:bodyPr>
          <a:lstStyle>
            <a:lvl1pPr algn="r" defTabSz="931857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02C23D6C-A8AC-42A3-8759-629911A9EF1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55671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theme" Target="../theme/theme3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55650" y="549275"/>
            <a:ext cx="5499100" cy="38068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52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00984" y="255230"/>
            <a:ext cx="3558499" cy="220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4" tIns="46587" rIns="93174" bIns="46587" numCol="1" anchor="t" anchorCtr="0" compatLnSpc="1">
            <a:prstTxWarp prst="textNoShape">
              <a:avLst/>
            </a:prstTxWarp>
          </a:bodyPr>
          <a:lstStyle>
            <a:lvl1pPr defTabSz="931857" eaLnBrk="0" hangingPunct="0">
              <a:defRPr sz="1000" b="1">
                <a:latin typeface="Arial Narrow" pitchFamily="34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Inhouse Seminar Im – und Exportabwicklung</a:t>
            </a:r>
          </a:p>
        </p:txBody>
      </p:sp>
      <p:sp>
        <p:nvSpPr>
          <p:cNvPr id="6153" name="Line 9"/>
          <p:cNvSpPr>
            <a:spLocks noChangeShapeType="1"/>
          </p:cNvSpPr>
          <p:nvPr/>
        </p:nvSpPr>
        <p:spPr bwMode="auto">
          <a:xfrm>
            <a:off x="402879" y="455663"/>
            <a:ext cx="596166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86018" tIns="43009" rIns="86018" bIns="43009"/>
          <a:lstStyle/>
          <a:p>
            <a:pPr>
              <a:defRPr/>
            </a:pPr>
            <a:endParaRPr lang="en-US">
              <a:cs typeface="+mn-cs"/>
            </a:endParaRPr>
          </a:p>
        </p:txBody>
      </p:sp>
      <p:pic>
        <p:nvPicPr>
          <p:cNvPr id="26629" name="Picture 10" descr="logo_d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45003" y="136988"/>
            <a:ext cx="777540" cy="285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196" name="Group 52"/>
          <p:cNvGraphicFramePr>
            <a:graphicFrameLocks noGrp="1"/>
          </p:cNvGraphicFramePr>
          <p:nvPr/>
        </p:nvGraphicFramePr>
        <p:xfrm>
          <a:off x="928032" y="4428300"/>
          <a:ext cx="5154337" cy="4173072"/>
        </p:xfrm>
        <a:graphic>
          <a:graphicData uri="http://schemas.openxmlformats.org/drawingml/2006/table">
            <a:tbl>
              <a:tblPr/>
              <a:tblGrid>
                <a:gridCol w="5154337"/>
              </a:tblGrid>
              <a:tr h="462874">
                <a:tc>
                  <a:txBody>
                    <a:bodyPr/>
                    <a:lstStyle/>
                    <a:p>
                      <a:pPr marL="0" marR="0" lvl="0" indent="0" algn="l" defTabSz="9906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7808" marR="97808" marT="44984" marB="44984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4315">
                <a:tc>
                  <a:txBody>
                    <a:bodyPr/>
                    <a:lstStyle/>
                    <a:p>
                      <a:pPr marL="0" marR="0" lvl="0" indent="0" algn="l" defTabSz="9906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7808" marR="97808" marT="44984" marB="44984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2874">
                <a:tc>
                  <a:txBody>
                    <a:bodyPr/>
                    <a:lstStyle/>
                    <a:p>
                      <a:pPr marL="0" marR="0" lvl="0" indent="0" algn="l" defTabSz="9906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7808" marR="97808" marT="44984" marB="44984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2874">
                <a:tc>
                  <a:txBody>
                    <a:bodyPr/>
                    <a:lstStyle/>
                    <a:p>
                      <a:pPr marL="0" marR="0" lvl="0" indent="0" algn="l" defTabSz="9906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7808" marR="97808" marT="44984" marB="44984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4315">
                <a:tc>
                  <a:txBody>
                    <a:bodyPr/>
                    <a:lstStyle/>
                    <a:p>
                      <a:pPr marL="0" marR="0" lvl="0" indent="0" algn="l" defTabSz="9906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7808" marR="97808" marT="44984" marB="44984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5758">
                <a:tc>
                  <a:txBody>
                    <a:bodyPr/>
                    <a:lstStyle/>
                    <a:p>
                      <a:pPr marL="0" marR="0" lvl="0" indent="0" algn="l" defTabSz="9906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7808" marR="97808" marT="44984" marB="44984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2874">
                <a:tc>
                  <a:txBody>
                    <a:bodyPr/>
                    <a:lstStyle/>
                    <a:p>
                      <a:pPr marL="0" marR="0" lvl="0" indent="0" algn="l" defTabSz="9906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7808" marR="97808" marT="44984" marB="44984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4315">
                <a:tc>
                  <a:txBody>
                    <a:bodyPr/>
                    <a:lstStyle/>
                    <a:p>
                      <a:pPr marL="0" marR="0" lvl="0" indent="0" algn="l" defTabSz="9906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7808" marR="97808" marT="44984" marB="44984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2874">
                <a:tc>
                  <a:txBody>
                    <a:bodyPr/>
                    <a:lstStyle/>
                    <a:p>
                      <a:pPr marL="0" marR="0" lvl="0" indent="0" algn="l" defTabSz="9906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97808" marR="97808" marT="44984" marB="44984" horzOverflow="overflow">
                    <a:lnL cap="flat"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193" name="Rectangle 49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71439" y="8791710"/>
            <a:ext cx="2838961" cy="504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4" tIns="46587" rIns="93174" bIns="46587" numCol="1" anchor="b" anchorCtr="0" compatLnSpc="1">
            <a:prstTxWarp prst="textNoShape">
              <a:avLst/>
            </a:prstTxWarp>
          </a:bodyPr>
          <a:lstStyle>
            <a:lvl1pPr algn="r" defTabSz="931857" eaLnBrk="0" hangingPunct="0">
              <a:defRPr sz="900" b="1">
                <a:latin typeface="Arial Narrow" pitchFamily="34" charset="0"/>
                <a:cs typeface="+mn-cs"/>
              </a:defRPr>
            </a:lvl1pPr>
          </a:lstStyle>
          <a:p>
            <a:pPr>
              <a:defRPr/>
            </a:pPr>
            <a:fld id="{22DEDCC6-2455-43C0-8BE7-8906F152C7E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6194" name="Rectangle 5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91710"/>
            <a:ext cx="3293572" cy="504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174" tIns="46587" rIns="93174" bIns="46587" numCol="1" anchor="b" anchorCtr="0" compatLnSpc="1">
            <a:prstTxWarp prst="textNoShape">
              <a:avLst/>
            </a:prstTxWarp>
          </a:bodyPr>
          <a:lstStyle>
            <a:lvl1pPr defTabSz="931857" eaLnBrk="0" hangingPunct="0">
              <a:defRPr sz="1000">
                <a:latin typeface="Arial Narrow" pitchFamily="34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AWA AUSSENWIRTSCHAFTS-AKADEMIE</a:t>
            </a:r>
            <a:r>
              <a:rPr lang="de-DE" sz="8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341984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0727" y="4415321"/>
            <a:ext cx="5608947" cy="418316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86018" tIns="43009" rIns="86018" bIns="43009"/>
          <a:lstStyle/>
          <a:p>
            <a:endParaRPr lang="en-GB" dirty="0" smtClean="0"/>
          </a:p>
        </p:txBody>
      </p:sp>
      <p:sp>
        <p:nvSpPr>
          <p:cNvPr id="43012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Inhouse Seminar Im – und Exportabwicklung</a:t>
            </a:r>
          </a:p>
        </p:txBody>
      </p:sp>
      <p:sp>
        <p:nvSpPr>
          <p:cNvPr id="43013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DC8E724-420F-4A82-88A1-FFC10BD57D82}" type="slidenum">
              <a:rPr lang="de-DE" smtClean="0"/>
              <a:pPr>
                <a:defRPr/>
              </a:pPr>
              <a:t>1</a:t>
            </a:fld>
            <a:endParaRPr lang="de-DE" smtClean="0"/>
          </a:p>
        </p:txBody>
      </p:sp>
      <p:sp>
        <p:nvSpPr>
          <p:cNvPr id="43014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AWA AUSSENWIRTSCHAFTS-AKADEMIE</a:t>
            </a:r>
            <a:r>
              <a:rPr lang="de-DE" sz="8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80333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1675" y="4416426"/>
            <a:ext cx="5607050" cy="4183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133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854" indent="-28571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2852" indent="-22857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99992" indent="-22857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132" indent="-22857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273" indent="-22857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414" indent="-22857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8554" indent="-22857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5695" indent="-22857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8F1C16F-12B7-4197-91A4-6EEE698E0EA6}" type="slidenum">
              <a:rPr lang="en-US" smtClean="0"/>
              <a:pPr eaLnBrk="1" hangingPunct="1"/>
              <a:t>5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12774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Placeholder 1"/>
          <p:cNvSpPr>
            <a:spLocks noGrp="1"/>
          </p:cNvSpPr>
          <p:nvPr>
            <p:ph type="ctrTitle"/>
          </p:nvPr>
        </p:nvSpPr>
        <p:spPr>
          <a:xfrm>
            <a:off x="0" y="4933950"/>
            <a:ext cx="6521450" cy="10223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44035" name="Text Placeholder 2"/>
          <p:cNvSpPr>
            <a:spLocks noGrp="1"/>
          </p:cNvSpPr>
          <p:nvPr>
            <p:ph type="subTitle" idx="1"/>
          </p:nvPr>
        </p:nvSpPr>
        <p:spPr>
          <a:xfrm>
            <a:off x="-82550" y="5956300"/>
            <a:ext cx="6934200" cy="57785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099300" y="4457700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D37645A8-20DD-4F1C-A27A-A9B80507B75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81144403"/>
      </p:ext>
    </p:extLst>
  </p:cSld>
  <p:clrMapOvr>
    <a:masterClrMapping/>
  </p:clrMapOvr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C9A867-2598-49BF-9CA9-3CD7EE1B4DA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01551084"/>
      </p:ext>
    </p:extLst>
  </p:cSld>
  <p:clrMapOvr>
    <a:masterClrMapping/>
  </p:clrMapOvr>
  <p:hf hdr="0" ftr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31724" y="274639"/>
            <a:ext cx="2309680" cy="59023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99244" y="274639"/>
            <a:ext cx="6767381" cy="59023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10095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245" y="274638"/>
            <a:ext cx="924216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82196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5E7C397-135B-49EC-9A15-25CE84CE917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2588352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E099472-742D-4F19-A44C-FF2059AB706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4997614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AE41F0-E280-47B0-822C-8AEE6A53A6E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5384623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7" y="1825625"/>
            <a:ext cx="418941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825625"/>
            <a:ext cx="418941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4D3C41D-7A8F-4200-AF84-7DFC4DC9F70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0578907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9EC51F7-A993-4593-AC54-A7D12CCDD91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8842357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D064671-3A09-426E-BE0C-E7DA15F99A7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2521575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06AA53-D3C7-49DD-B3C7-B8124F08F6B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8331048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6A6BA59-B938-4028-B159-E94C98306AC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103203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3816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3816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A7B02C-EBF3-45A0-BC17-AF6ADF50A7C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81064044"/>
      </p:ext>
    </p:extLst>
  </p:cSld>
  <p:clrMapOvr>
    <a:masterClrMapping/>
  </p:clrMapOvr>
  <p:hf hdr="0" ftr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BAA37B7-2E59-41E5-B787-367073814CE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0864406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F6F9F88-2DF8-42FC-926B-0C14823158C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400382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42844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1585496-382E-4E63-A7E3-A14CA5933BD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7591353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Placeholder 1"/>
          <p:cNvSpPr>
            <a:spLocks noGrp="1"/>
          </p:cNvSpPr>
          <p:nvPr>
            <p:ph type="ctrTitle"/>
          </p:nvPr>
        </p:nvSpPr>
        <p:spPr>
          <a:xfrm>
            <a:off x="0" y="4933950"/>
            <a:ext cx="6521450" cy="10223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44035" name="Text Placeholder 2"/>
          <p:cNvSpPr>
            <a:spLocks noGrp="1"/>
          </p:cNvSpPr>
          <p:nvPr>
            <p:ph type="subTitle" idx="1"/>
          </p:nvPr>
        </p:nvSpPr>
        <p:spPr>
          <a:xfrm>
            <a:off x="-82550" y="5956300"/>
            <a:ext cx="6934200" cy="57785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99300" y="4457700"/>
            <a:ext cx="23114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8C57D1A-8A81-494D-A5EE-7462E053427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79032718"/>
      </p:ext>
    </p:extLst>
  </p:cSld>
  <p:clrMapOvr>
    <a:masterClrMapping/>
  </p:clrMapOvr>
  <p:hf hdr="0" ftr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47A20D-C70E-4C52-BCAD-8BE04FCCF4C9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51899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6B48F4-3294-4AAB-828A-1CEE111F26C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99150809"/>
      </p:ext>
    </p:extLst>
  </p:cSld>
  <p:clrMapOvr>
    <a:masterClrMapping/>
  </p:clrMapOvr>
  <p:hf hdr="0" ftr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C338C5-CB2B-44B7-BA6A-D626BCBC0C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90117685"/>
      </p:ext>
    </p:extLst>
  </p:cSld>
  <p:clrMapOvr>
    <a:masterClrMapping/>
  </p:clrMapOvr>
  <p:hf hdr="0" ftr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8F0C6F-7784-4E58-8639-9993BE8E2E5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51438038"/>
      </p:ext>
    </p:extLst>
  </p:cSld>
  <p:clrMapOvr>
    <a:masterClrMapping/>
  </p:clrMapOvr>
  <p:hf hdr="0" ftr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9B721C-AF54-42C7-8701-5E70DC2F6C1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47472519"/>
      </p:ext>
    </p:extLst>
  </p:cSld>
  <p:clrMapOvr>
    <a:masterClrMapping/>
  </p:clrMapOvr>
  <p:hf hdr="0" ftr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84451E-746B-4301-98AB-17309B0B0E2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42771338"/>
      </p:ext>
    </p:extLst>
  </p:cSld>
  <p:clrMapOvr>
    <a:masterClrMapping/>
  </p:clrMapOvr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36013" y="6580188"/>
            <a:ext cx="1169987" cy="2778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E21E9C-83CC-407F-B7C4-FCB7327239C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7272512"/>
      </p:ext>
    </p:extLst>
  </p:cSld>
  <p:clrMapOvr>
    <a:masterClrMapping/>
  </p:clrMapOvr>
  <p:transition>
    <p:diamond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E5E2FC-25A6-4325-BA8A-49833082178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84827306"/>
      </p:ext>
    </p:extLst>
  </p:cSld>
  <p:clrMapOvr>
    <a:masterClrMapping/>
  </p:clrMapOvr>
  <p:hf hdr="0" ftr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9E2053-7EEE-4049-8560-BA1FE354B42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29682884"/>
      </p:ext>
    </p:extLst>
  </p:cSld>
  <p:clrMapOvr>
    <a:masterClrMapping/>
  </p:clrMapOvr>
  <p:hf hdr="0" ftr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0AE9A8-A4B4-4B27-9CA1-52AD3C99F3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39489209"/>
      </p:ext>
    </p:extLst>
  </p:cSld>
  <p:clrMapOvr>
    <a:masterClrMapping/>
  </p:clrMapOvr>
  <p:hf hdr="0" ftr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3816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3816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2B2C25-00CF-40F8-8A24-553BB7301B9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3789344"/>
      </p:ext>
    </p:extLst>
  </p:cSld>
  <p:clrMapOvr>
    <a:masterClrMapping/>
  </p:clrMapOvr>
  <p:hf hdr="0" ftr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24907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36013" y="6580188"/>
            <a:ext cx="1169987" cy="2778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E21E9C-83CC-407F-B7C4-FCB7327239C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5609891"/>
      </p:ext>
    </p:extLst>
  </p:cSld>
  <p:clrMapOvr>
    <a:masterClrMapping/>
  </p:clrMapOvr>
  <p:transition>
    <p:diamond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le Placeholder 1"/>
          <p:cNvSpPr>
            <a:spLocks noGrp="1"/>
          </p:cNvSpPr>
          <p:nvPr>
            <p:ph type="ctrTitle"/>
          </p:nvPr>
        </p:nvSpPr>
        <p:spPr>
          <a:xfrm>
            <a:off x="0" y="4933950"/>
            <a:ext cx="6521450" cy="10223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47107" name="Text Placeholder 2"/>
          <p:cNvSpPr>
            <a:spLocks noGrp="1"/>
          </p:cNvSpPr>
          <p:nvPr>
            <p:ph type="subTitle" idx="1"/>
          </p:nvPr>
        </p:nvSpPr>
        <p:spPr>
          <a:xfrm>
            <a:off x="-82550" y="5956300"/>
            <a:ext cx="6934200" cy="57785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99300" y="4457700"/>
            <a:ext cx="23114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E29AA74-2DA1-4576-AD1C-0D3611BA61D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8204601"/>
      </p:ext>
    </p:extLst>
  </p:cSld>
  <p:clrMapOvr>
    <a:masterClrMapping/>
  </p:clrMapOvr>
  <p:hf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EF1942-48F9-4DCE-BE8F-763955D12C8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3979812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90703D-BED5-4789-804F-5B613E49474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910041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D64F57-1DB9-4D09-97ED-F7D135459E9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1654894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48531-2E26-4BD3-A735-A9B3CD9B76E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619279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le Placeholder 1"/>
          <p:cNvSpPr>
            <a:spLocks noGrp="1"/>
          </p:cNvSpPr>
          <p:nvPr>
            <p:ph type="ctrTitle"/>
          </p:nvPr>
        </p:nvSpPr>
        <p:spPr>
          <a:xfrm>
            <a:off x="0" y="4933950"/>
            <a:ext cx="6521450" cy="10223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47107" name="Text Placeholder 2"/>
          <p:cNvSpPr>
            <a:spLocks noGrp="1"/>
          </p:cNvSpPr>
          <p:nvPr>
            <p:ph type="subTitle" idx="1"/>
          </p:nvPr>
        </p:nvSpPr>
        <p:spPr>
          <a:xfrm>
            <a:off x="-82550" y="5956300"/>
            <a:ext cx="6934200" cy="57785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099300" y="4457700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85DCE7A1-27B1-4F9D-B67C-6EBBC5A253F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81933392"/>
      </p:ext>
    </p:extLst>
  </p:cSld>
  <p:clrMapOvr>
    <a:masterClrMapping/>
  </p:clrMapOvr>
  <p:hf hdr="0" ft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D31561-A7A3-4517-8ACC-F6FA3BD032C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8184396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6ABAF5-EA31-4AE8-8CAB-CE97499F318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3299387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F1FDD7-2635-42FB-83A1-F440D962860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4288928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A910B6-E062-40C5-AF18-BDCBAA390B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1786352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F6623E-9B24-49B5-9618-93B492C6530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3084003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3816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3816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4C1E3D-D4D9-435F-951F-D1950C42C63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3999003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le Placeholder 1"/>
          <p:cNvSpPr>
            <a:spLocks noGrp="1"/>
          </p:cNvSpPr>
          <p:nvPr>
            <p:ph type="ctrTitle"/>
          </p:nvPr>
        </p:nvSpPr>
        <p:spPr>
          <a:xfrm>
            <a:off x="0" y="4933950"/>
            <a:ext cx="6521450" cy="10223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54275" name="Text Placeholder 2"/>
          <p:cNvSpPr>
            <a:spLocks noGrp="1"/>
          </p:cNvSpPr>
          <p:nvPr>
            <p:ph type="subTitle" idx="1"/>
          </p:nvPr>
        </p:nvSpPr>
        <p:spPr>
          <a:xfrm>
            <a:off x="-82550" y="5956300"/>
            <a:ext cx="6934200" cy="57785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99300" y="4457700"/>
            <a:ext cx="23114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91DAF48-BF01-41CF-9FBB-3102524C369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7250204"/>
      </p:ext>
    </p:extLst>
  </p:cSld>
  <p:clrMapOvr>
    <a:masterClrMapping/>
  </p:clrMapOvr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BB2119-A3E7-453B-B5C8-52F1759AD3E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0696751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58D5D0-32DB-4D06-9A2D-3438053B1B9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4519276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8D963-90A4-4F71-88A8-CCA0D1BDAC8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408093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369E1B-FCC6-45DC-89C9-011FDA42A04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6780518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20F1AD-9CD0-4CA7-9D7C-E952E0EDC84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6526260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1928E0-75C8-49E6-B029-43F000D7EEF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2054313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C38E43-925C-4060-8846-B7DA535F8F6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2282615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2ECE1D-13D5-4467-BDE5-79C87C73FB8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4692904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56AE15-7309-4C85-B66D-F4C21EDCE6F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318927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CE13F4-07BA-4E4E-815A-D55BA2CB968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1534202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3816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3816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375958-154D-486A-8630-B627AC3AB3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567355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Placeholder 1"/>
          <p:cNvSpPr>
            <a:spLocks noGrp="1"/>
          </p:cNvSpPr>
          <p:nvPr>
            <p:ph type="ctrTitle"/>
          </p:nvPr>
        </p:nvSpPr>
        <p:spPr>
          <a:xfrm>
            <a:off x="0" y="4933950"/>
            <a:ext cx="6521450" cy="10223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56323" name="Text Placeholder 2"/>
          <p:cNvSpPr>
            <a:spLocks noGrp="1"/>
          </p:cNvSpPr>
          <p:nvPr>
            <p:ph type="subTitle" idx="1"/>
          </p:nvPr>
        </p:nvSpPr>
        <p:spPr>
          <a:xfrm>
            <a:off x="-82550" y="5956300"/>
            <a:ext cx="6934200" cy="57785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99300" y="4457700"/>
            <a:ext cx="23114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7106C88-7F5D-4E2B-A474-D0646C445EF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3882446"/>
      </p:ext>
    </p:extLst>
  </p:cSld>
  <p:clrMapOvr>
    <a:masterClrMapping/>
  </p:clrMapOvr>
  <p:hf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322504-4332-4FC8-A15F-ACF89350C15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9900012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F08E11-A5F1-4BE8-9716-B80809DEE2B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72351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C4E57A4-B27D-4D17-A3F7-52012CEF352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3231603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2842816" cy="45958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3217" y="1600201"/>
            <a:ext cx="2844535" cy="45958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8AAE2D-51B1-4CD0-BB8C-27EED09ED17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4663942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C7533D-687C-4AD2-9C60-E8003177064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7283312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E798D2-911C-4768-9468-25DE8C010D3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8529437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976698-912F-4D6A-95E9-D6BEB689712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331265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4D503F-4216-494E-B6C3-D5F9EA06C43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420477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F0BFC-26D0-45B1-90BA-CAC5E809E25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1098922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AF97B-B581-4251-8EE3-948455340CC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1455345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885929" y="274639"/>
            <a:ext cx="1461823" cy="59213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4225529" cy="5921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B7AD66-DAFE-4F51-9A20-766027BC3D8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874446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496CF4-608B-4690-B1A4-2DBDE76CB3B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8048575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8901F9-6EAC-4613-9D66-25A0CA791C4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024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B04D31-C449-461F-A678-083229E354F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0915880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AF00F4-C798-4851-B3BD-2528674D0E7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8126794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868B25-B1E8-4F34-A900-E138F8E80EE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6490340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6703C1-2B23-4862-AACE-39259051DA6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907119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3093A7-2348-46BC-9CED-9A3247B0AFD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866929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7994B8-837B-428A-93AF-621A5A99504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7823905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E548CA-EB7E-42E6-BD42-1D05C24AF24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2114093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B42A72-5DCC-498B-A012-4474591E8B8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5446595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AB551-49AD-47D8-A270-BFE3C58AF92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3928862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3816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3816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53BD64-1009-4C14-9DA3-98EBEA3EEF2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3088588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31D0D7-2C6B-4344-9E17-296A5E567BB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652179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236DE98-324E-4D1E-89CC-39D1AA66901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3032514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17E798-4C76-4DB7-8417-249EC7A9A67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5910662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C91905-C910-4C4D-8255-039A37451EC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665869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2849695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10096" y="1600200"/>
            <a:ext cx="2851415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FC01F8-DF25-4FAC-ADD4-906CA809833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0784935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117141-9EC8-4CEF-98CE-4E1C2785C30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365430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D91CA3-3968-4ADC-8F87-4DBFEFEBFD4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6187929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833363-C929-4582-A922-324F3D7C247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0256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4658C5-5E80-448B-A777-C4F0C4A46B9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1349280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45C38A-CB52-42EC-906C-5CF23831F2F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4602428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D1C4A6-7599-46C1-A340-7CF6DA82BAA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1515325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014912" y="274638"/>
            <a:ext cx="1506538" cy="58975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4354513" cy="58975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19B46B-4296-4C8F-AC36-9D965B2DAB9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770783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5EA03EA-7651-45C4-8FFB-C1CBC932D0C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4216153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A06EB4-87D4-4BDA-81E7-EE1C9FA5BD0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7099723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6CB5B7-1794-404C-85ED-07C4A9A2629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0292619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A05646-22ED-4AF6-B8D0-8DB1B5CAA74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3595813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2842816" cy="45958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3217" y="1600201"/>
            <a:ext cx="2844535" cy="45958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CBE073-82FB-43C0-BEBA-ED98C984659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5106437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1FAE83-9D94-49D1-B124-D7227F30381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4193075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D61CC3-8175-426C-AC65-CD9484AFCF3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3684287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151CFC-191A-48B9-8C7A-7D2D98E727A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7440863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0C28E3-9194-48D3-827A-6C776F341E5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4108131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B3B6EF-809D-45AC-A0DA-471C3A8EAA5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4285092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F5602F-2A8D-480E-8953-DA774588BA1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73775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2D79F0-43C1-493B-A023-56E17DA4B99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8460025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885929" y="274639"/>
            <a:ext cx="1461823" cy="59213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4225529" cy="5921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387BB0-1242-424A-BC7D-EDFB9585743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1843576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0D6599-81E6-46EA-9F7C-B80071C3517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4381514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51FFF6-CACE-4C9D-B2EA-1F73AB5FDE1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2134120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DBE274-19E7-4EAA-8AB5-8944BA419F4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5247897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4756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4756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EB9D86-C1F8-4BD9-B0E6-CF54F8CBE53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5526353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23545-F3ED-473D-BA50-1A5D0843516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3586057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87C2C6-5BF8-4433-BE58-EAA6162294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7028235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4F98AF-A7BA-48DB-B6F2-3B10E91A95A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5975695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E241B8-0A3B-4F56-9A85-4F1003970C4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5872676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B804CB-9898-4312-AE5D-5464187C001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369309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47A20D-C70E-4C52-BCAD-8BE04FCCF4C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797560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BF23510-A37C-40C8-B178-9CEA11A9367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4647597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778EF3-4C80-4F54-A79C-E2E458D1D49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0704890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60817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60817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8C7B3C-C3EA-4499-8B18-3DFA900188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6474305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24907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36013" y="6580188"/>
            <a:ext cx="1169987" cy="2778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E21E9C-83CC-407F-B7C4-FCB7327239C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5410326"/>
      </p:ext>
    </p:extLst>
  </p:cSld>
  <p:clrMapOvr>
    <a:masterClrMapping/>
  </p:clrMapOvr>
  <p:transition>
    <p:diamond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127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42928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725864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7" y="1825625"/>
            <a:ext cx="418941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825625"/>
            <a:ext cx="418941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56354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75246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46303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36131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E27C6F-EEF0-413E-A229-7459D13CDAB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9338648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57335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88285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40507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31724" y="274639"/>
            <a:ext cx="2309680" cy="59023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99244" y="274639"/>
            <a:ext cx="6767381" cy="59023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69707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245" y="274638"/>
            <a:ext cx="924216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26187494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DB4B5B-3E5B-43A5-A054-375C3B3F694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1314919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27EC0D-063B-4B5B-84A0-EFE11628D97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1948986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6CE90E-030B-417A-B96C-6C0747A3CF5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2224298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7" y="1825625"/>
            <a:ext cx="418941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825625"/>
            <a:ext cx="418941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0AFBDF-1EF7-4A72-AE38-1B776BEDBFA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8431668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B18F29-7D48-4C69-BAAE-1141753EE16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366200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A56874-947A-4683-8C47-B40E0016001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0549023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3BCB28-EF62-4505-9146-64BCFD265B5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6565087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BDB065-CFF9-4F3B-9668-4558BC8716D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345823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6A8F83-3FE0-4F26-A358-F9F165D6877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5982865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85E749-3D10-44BB-99D1-8E1DB37BE52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0517770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F78C4D-6C74-4AB7-A089-92A2A76DC1F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2978483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42844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3150A-FCFC-4B5C-96B6-D5B05A37CBE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4292949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389724"/>
      </p:ext>
    </p:extLst>
  </p:cSld>
  <p:clrMapOvr>
    <a:masterClrMapping/>
  </p:clrMapOvr>
  <p:hf hdr="0" ftr="0" dt="0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54911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597811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22800" y="1371600"/>
            <a:ext cx="2435225" cy="60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23125" y="1371600"/>
            <a:ext cx="2435225" cy="60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8045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3816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3816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F804805-9604-456D-A625-525164BEACA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6862716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87681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84646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900857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490648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722644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60558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00975" y="1371600"/>
            <a:ext cx="1857375" cy="3200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28850" y="1371600"/>
            <a:ext cx="5407025" cy="3200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92370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46414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30556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01393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le Placeholder 1"/>
          <p:cNvSpPr>
            <a:spLocks noGrp="1"/>
          </p:cNvSpPr>
          <p:nvPr>
            <p:ph type="ctrTitle"/>
          </p:nvPr>
        </p:nvSpPr>
        <p:spPr>
          <a:xfrm>
            <a:off x="0" y="4933950"/>
            <a:ext cx="6521450" cy="10223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54275" name="Text Placeholder 2"/>
          <p:cNvSpPr>
            <a:spLocks noGrp="1"/>
          </p:cNvSpPr>
          <p:nvPr>
            <p:ph type="subTitle" idx="1"/>
          </p:nvPr>
        </p:nvSpPr>
        <p:spPr>
          <a:xfrm>
            <a:off x="-82550" y="5956300"/>
            <a:ext cx="6934200" cy="57785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099300" y="4457700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2519AA65-7728-4C47-A397-E53A17EB212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51699368"/>
      </p:ext>
    </p:extLst>
  </p:cSld>
  <p:clrMapOvr>
    <a:masterClrMapping/>
  </p:clrMapOvr>
  <p:hf hdr="0" ftr="0" dt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22800" y="1371600"/>
            <a:ext cx="2435225" cy="60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23125" y="1371600"/>
            <a:ext cx="2435225" cy="60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67381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53299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29053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645657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105332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3179935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67223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00975" y="1371600"/>
            <a:ext cx="1857375" cy="3200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28850" y="1371600"/>
            <a:ext cx="5407025" cy="3200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53956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58543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6067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C6D63F-8F95-49D1-8D60-9EFDD3BFEBE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4496682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093290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22800" y="1371600"/>
            <a:ext cx="2435225" cy="60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23125" y="1371600"/>
            <a:ext cx="2435225" cy="60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31940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80188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99985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242665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983221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5258998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15517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00975" y="1371600"/>
            <a:ext cx="1857375" cy="3200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28850" y="1371600"/>
            <a:ext cx="5407025" cy="3200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712725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5590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85CCF5D-E963-41DC-B8BA-A77F49760E7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3970980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68228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909641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22800" y="1371600"/>
            <a:ext cx="2435225" cy="60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23125" y="1371600"/>
            <a:ext cx="2435225" cy="60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58371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13813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32213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68581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03204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858209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20747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00975" y="1371600"/>
            <a:ext cx="1857375" cy="3200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28850" y="1371600"/>
            <a:ext cx="5407025" cy="3200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9573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E9F21D3-F51C-4274-A7AF-9DEEA318DA0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723942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15791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83295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77128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3657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3657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34110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6366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67928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297327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74936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265474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1135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3AC23C4-7385-4EE1-ADC4-D0FF5C49F0A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9257441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49831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49831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19363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23784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438082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541095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3657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3657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44213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58436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232505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443247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90278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44846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DCDF469-3BEF-4A4C-A93D-DF43921591B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4658047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42017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49831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49831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074314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94799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122408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034819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3657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3657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16804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767394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17824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04919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0667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4164E6-CCAE-41F8-8C88-7B10EB48925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73636524"/>
      </p:ext>
    </p:extLst>
  </p:cSld>
  <p:clrMapOvr>
    <a:masterClrMapping/>
  </p:clrMapOvr>
  <p:hf hdr="0" ft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57FBA0-2E8F-40BB-97CA-556191FD8A9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5394647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429186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1669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49831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49831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06848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C3B0BD-64F5-4924-8CBC-F7A968AE5B3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197909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A81FDC-CBD7-48BF-9DFA-0F3C87C4C15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0204774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9C3292-9141-4E21-921E-79C159BE0F7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7928583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BAFCD-6284-4B2B-9A4C-252A067794B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524349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4EE2C5-4405-4B94-9D33-B2A0280B0B4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64846043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A307F4-472E-485E-B964-EDB6ACA14AF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77767695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6AA096-B7D8-45B9-941B-8F2EEBAEB99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786700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6502DE2-870B-4B4A-9549-8FEC339EE00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3798971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B9C151-6CC9-4602-BED5-6E5E59BFCCC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4986955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1561E8-7234-4BB5-A2F7-3F6F53225D0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3295561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536917-2CC7-4439-A357-CC5A8623D4A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559607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11C256-6AE3-431D-BF7D-7A8BACDD0B5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9896181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77696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15920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14491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3657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3657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378486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2052432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12458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6A977E-7CEB-4820-95B8-8E4D4630342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14700530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3980188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838970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1944406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678362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49831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49831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0339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DD5E54-1B25-43C8-943F-84C33ED1FA8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889672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3816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3816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5465D8A-4FAD-41B3-BA5E-5C5C2A13FAF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138411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Placeholder 1"/>
          <p:cNvSpPr>
            <a:spLocks noGrp="1"/>
          </p:cNvSpPr>
          <p:nvPr>
            <p:ph type="ctrTitle"/>
          </p:nvPr>
        </p:nvSpPr>
        <p:spPr>
          <a:xfrm>
            <a:off x="0" y="4933950"/>
            <a:ext cx="6521450" cy="10223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56323" name="Text Placeholder 2"/>
          <p:cNvSpPr>
            <a:spLocks noGrp="1"/>
          </p:cNvSpPr>
          <p:nvPr>
            <p:ph type="subTitle" idx="1"/>
          </p:nvPr>
        </p:nvSpPr>
        <p:spPr>
          <a:xfrm>
            <a:off x="-82550" y="5956300"/>
            <a:ext cx="6934200" cy="57785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099300" y="4457700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8ED9CAB7-ECC2-40ED-99F6-2B7FA411287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05207429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CF8AF7-AD76-4443-8961-7AB18E7F187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93784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E20758-A830-4A2E-AA79-AAFD5583FAA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183228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2842816" cy="45958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3217" y="1600201"/>
            <a:ext cx="2844535" cy="45958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F9CDAD6-00E2-46AD-90A3-0FBD7613E07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108665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963B64-2104-4EE8-9BA9-AD9C430D853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94004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FA6EA92-7974-46CE-8E2C-958217AA8DF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90801671"/>
      </p:ext>
    </p:extLst>
  </p:cSld>
  <p:clrMapOvr>
    <a:masterClrMapping/>
  </p:clrMapOvr>
  <p:hf hdr="0" ft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011796-4C79-4FC0-A22B-F6C8E45B66D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700645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AF9260-C910-4D59-97A1-9F924E6EFAA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374933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C93FB7-8E9F-44B3-B13B-19BA8E7946A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657631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ED85CD-DEA8-42E1-9E31-C052B5C6E5D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531523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E3173C1-943F-4C05-9097-09AD20C2C3D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34200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885929" y="274639"/>
            <a:ext cx="1461823" cy="59213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4225529" cy="5921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AD3D6FD-7C9F-42C1-A5EB-EEFE836C850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42841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17E94B-6D36-45C6-BC12-75A64C37912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496974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A000C1-4375-4320-AC7E-2CE247967F9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746151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279419-5719-4B35-9BA3-3C4D21617A3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454183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24907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D7172D4-1D67-4711-A814-95498E57C6E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385725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56D32F-FF11-4369-97A6-CDA4E577891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87793014"/>
      </p:ext>
    </p:extLst>
  </p:cSld>
  <p:clrMapOvr>
    <a:masterClrMapping/>
  </p:clrMapOvr>
  <p:hf hdr="0" ft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E72174-0EF6-4FFE-A0B9-680DFB3D64F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531609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BC1469-6DF3-4EAD-B29D-37B02581C21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051988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F72EAC-7E48-4229-AFFB-691141F60A2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505763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FDB001-7793-4083-A4D1-1CF1828AF95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593367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E8E5D2F-A759-4D15-A633-E4FB36ED386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78934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CB95BC-A732-463F-BDF1-CC79B3E5F29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896263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38163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38163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DEE851-D780-4CEB-85B3-510A940FB0F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53946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72C9DB-ACFC-46C4-AB48-66F15854CE2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9975831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998EB39-CC54-4D6B-98F5-00A4444DA9E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0109865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749035-C5AA-4C07-BB0F-46A10ABA3B7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804344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7A70E64-F704-4D59-97B2-5382700343A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99089538"/>
      </p:ext>
    </p:extLst>
  </p:cSld>
  <p:clrMapOvr>
    <a:masterClrMapping/>
  </p:clrMapOvr>
  <p:hf hdr="0" ft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2849695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10096" y="1600200"/>
            <a:ext cx="2851415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9ACBC9E-0D96-4566-AB52-9FF725D7FA1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8780774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DEA6C5E-6556-4B03-8182-0318606EAD6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22904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D4ED710-F9EE-4BBB-A776-FA80BD0C314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95986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382F7F6-434B-4EBC-AE17-233FCC332A8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477283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FBA5F1-4FB4-4C24-94F6-1362B0C0286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075547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D3A8F4E-3C21-4B14-9540-D4EC2A5C9ED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508166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4620803-F95D-4454-8C8F-7F81B1FFDCA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501567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014912" y="274638"/>
            <a:ext cx="1506538" cy="58975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4354513" cy="58975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03D56B-5CD3-48A9-BB37-2583009D881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063647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5FDF11-5747-4DB3-AA09-D4227108C7C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067828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CC70DE-3307-4ABE-9732-5592261F05C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65545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EC1EF75-79B7-4CCC-8F53-D2BB498CF70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04481082"/>
      </p:ext>
    </p:extLst>
  </p:cSld>
  <p:clrMapOvr>
    <a:masterClrMapping/>
  </p:clrMapOvr>
  <p:hf hdr="0" ft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3229B5B-72AA-4C70-A7D4-D6C13E6F97D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948127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2842816" cy="45958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03217" y="1600201"/>
            <a:ext cx="2844535" cy="45958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CC64F5-5BF2-4C74-9513-51A60CBFFD8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5719526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490A2C3-E66D-4F4D-9089-2D02A972CFB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819312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27A70B-812B-451E-AD50-51B9EEAD118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1492224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6650D5-6455-4F67-A776-839DB22D9BF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31824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5E2352-5A61-4062-B728-2FBBB757D74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007989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0EEEFD-434C-49C5-BA4E-91AE4255B4A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9506443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747DB6-3D41-4D8E-AD47-FF9745829B3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119290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885929" y="274639"/>
            <a:ext cx="1461823" cy="59213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4225529" cy="5921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DF3497-66F0-4A87-A76C-4D1FCFC9419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3918053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74254C-A96C-4BBF-B508-F3EAA2DD677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75388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E128463-63EB-43A8-817C-585C559E149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70647972"/>
      </p:ext>
    </p:extLst>
  </p:cSld>
  <p:clrMapOvr>
    <a:masterClrMapping/>
  </p:clrMapOvr>
  <p:hf hdr="0" ftr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234878-0E3F-4242-93EA-C935F8AA963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9215840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782AFF9-57F0-46DF-92CD-529729E1723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3505007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4756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47561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0E549C-C58F-4947-B13C-1B052031124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558716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463B82-DE92-4B1F-B624-A8B2EB1AE1C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5385022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BF23C29-8C75-4D37-912C-2477AA445D9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377330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58B0344-BEEA-4E13-BECD-FD0F1E374C6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643693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E4FF65-D1A6-42F8-9448-6E6FDFBF944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7333603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FC93E2-B304-4129-97EA-849343DE1EE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743967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AFFF9B-C35F-461E-ABA4-441DFEEE441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5860456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60817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60817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2B75DB-23E0-4F0A-866A-54A1B6D01F2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22122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0176F46-834D-47E8-9C68-50775102FDF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98948680"/>
      </p:ext>
    </p:extLst>
  </p:cSld>
  <p:clrMapOvr>
    <a:masterClrMapping/>
  </p:clrMapOvr>
  <p:hf hdr="0" ftr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13169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53707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39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4"/>
            <a:ext cx="8543925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477710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7" y="1825625"/>
            <a:ext cx="418941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825625"/>
            <a:ext cx="4189413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33519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365126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758" y="1681163"/>
            <a:ext cx="4191132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758" y="2505075"/>
            <a:ext cx="4191132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77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77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53212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956684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367681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770" y="987426"/>
            <a:ext cx="5014913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954865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758" y="457200"/>
            <a:ext cx="319537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1770" y="987426"/>
            <a:ext cx="5014913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758" y="2057400"/>
            <a:ext cx="3195373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675424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2104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image" Target="../media/image1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8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0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0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image" Target="../media/image11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14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Relationship Id="rId14" Type="http://schemas.openxmlformats.org/officeDocument/2006/relationships/image" Target="../media/image1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25.xml"/><Relationship Id="rId5" Type="http://schemas.openxmlformats.org/officeDocument/2006/relationships/slideLayout" Target="../slideLayouts/slideLayout219.xml"/><Relationship Id="rId10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3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32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1" Type="http://schemas.openxmlformats.org/officeDocument/2006/relationships/slideLayout" Target="../slideLayouts/slideLayout236.xml"/><Relationship Id="rId5" Type="http://schemas.openxmlformats.org/officeDocument/2006/relationships/slideLayout" Target="../slideLayouts/slideLayout230.xml"/><Relationship Id="rId10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13" Type="http://schemas.openxmlformats.org/officeDocument/2006/relationships/image" Target="../media/image14.jpeg"/><Relationship Id="rId3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3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5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250.xml"/><Relationship Id="rId7" Type="http://schemas.openxmlformats.org/officeDocument/2006/relationships/slideLayout" Target="../slideLayouts/slideLayout254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48.xml"/><Relationship Id="rId6" Type="http://schemas.openxmlformats.org/officeDocument/2006/relationships/slideLayout" Target="../slideLayouts/slideLayout253.xml"/><Relationship Id="rId11" Type="http://schemas.openxmlformats.org/officeDocument/2006/relationships/slideLayout" Target="../slideLayouts/slideLayout258.xml"/><Relationship Id="rId5" Type="http://schemas.openxmlformats.org/officeDocument/2006/relationships/slideLayout" Target="../slideLayouts/slideLayout252.xml"/><Relationship Id="rId10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51.xml"/><Relationship Id="rId9" Type="http://schemas.openxmlformats.org/officeDocument/2006/relationships/slideLayout" Target="../slideLayouts/slideLayout256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6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261.xml"/><Relationship Id="rId7" Type="http://schemas.openxmlformats.org/officeDocument/2006/relationships/slideLayout" Target="../slideLayouts/slideLayout265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260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1" Type="http://schemas.openxmlformats.org/officeDocument/2006/relationships/slideLayout" Target="../slideLayouts/slideLayout269.xml"/><Relationship Id="rId5" Type="http://schemas.openxmlformats.org/officeDocument/2006/relationships/slideLayout" Target="../slideLayouts/slideLayout263.xml"/><Relationship Id="rId10" Type="http://schemas.openxmlformats.org/officeDocument/2006/relationships/slideLayout" Target="../slideLayouts/slideLayout268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7.xml"/><Relationship Id="rId13" Type="http://schemas.openxmlformats.org/officeDocument/2006/relationships/image" Target="../media/image17.jpeg"/><Relationship Id="rId3" Type="http://schemas.openxmlformats.org/officeDocument/2006/relationships/slideLayout" Target="../slideLayouts/slideLayout272.xml"/><Relationship Id="rId7" Type="http://schemas.openxmlformats.org/officeDocument/2006/relationships/slideLayout" Target="../slideLayouts/slideLayout276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271.xml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Relationship Id="rId11" Type="http://schemas.openxmlformats.org/officeDocument/2006/relationships/slideLayout" Target="../slideLayouts/slideLayout280.xml"/><Relationship Id="rId5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79.xml"/><Relationship Id="rId4" Type="http://schemas.openxmlformats.org/officeDocument/2006/relationships/slideLayout" Target="../slideLayouts/slideLayout273.xml"/><Relationship Id="rId9" Type="http://schemas.openxmlformats.org/officeDocument/2006/relationships/slideLayout" Target="../slideLayouts/slideLayout278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18.jpeg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282.xml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slideLayout" Target="../slideLayouts/slideLayout291.xml"/><Relationship Id="rId5" Type="http://schemas.openxmlformats.org/officeDocument/2006/relationships/slideLayout" Target="../slideLayouts/slideLayout285.xml"/><Relationship Id="rId10" Type="http://schemas.openxmlformats.org/officeDocument/2006/relationships/slideLayout" Target="../slideLayouts/slideLayout290.xml"/><Relationship Id="rId4" Type="http://schemas.openxmlformats.org/officeDocument/2006/relationships/slideLayout" Target="../slideLayouts/slideLayout284.xml"/><Relationship Id="rId9" Type="http://schemas.openxmlformats.org/officeDocument/2006/relationships/slideLayout" Target="../slideLayouts/slideLayout289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image" Target="../media/image19.jpeg"/><Relationship Id="rId3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98.xml"/><Relationship Id="rId12" Type="http://schemas.openxmlformats.org/officeDocument/2006/relationships/theme" Target="../theme/theme27.xml"/><Relationship Id="rId2" Type="http://schemas.openxmlformats.org/officeDocument/2006/relationships/slideLayout" Target="../slideLayouts/slideLayout293.xml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5" Type="http://schemas.openxmlformats.org/officeDocument/2006/relationships/slideLayout" Target="../slideLayouts/slideLayout296.xml"/><Relationship Id="rId10" Type="http://schemas.openxmlformats.org/officeDocument/2006/relationships/slideLayout" Target="../slideLayouts/slideLayout301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0.xml"/><Relationship Id="rId3" Type="http://schemas.openxmlformats.org/officeDocument/2006/relationships/slideLayout" Target="../slideLayouts/slideLayout305.xml"/><Relationship Id="rId7" Type="http://schemas.openxmlformats.org/officeDocument/2006/relationships/slideLayout" Target="../slideLayouts/slideLayout309.xml"/><Relationship Id="rId12" Type="http://schemas.openxmlformats.org/officeDocument/2006/relationships/theme" Target="../theme/theme28.xml"/><Relationship Id="rId2" Type="http://schemas.openxmlformats.org/officeDocument/2006/relationships/slideLayout" Target="../slideLayouts/slideLayout304.xml"/><Relationship Id="rId1" Type="http://schemas.openxmlformats.org/officeDocument/2006/relationships/slideLayout" Target="../slideLayouts/slideLayout303.xml"/><Relationship Id="rId6" Type="http://schemas.openxmlformats.org/officeDocument/2006/relationships/slideLayout" Target="../slideLayouts/slideLayout308.xml"/><Relationship Id="rId11" Type="http://schemas.openxmlformats.org/officeDocument/2006/relationships/slideLayout" Target="../slideLayouts/slideLayout313.xml"/><Relationship Id="rId5" Type="http://schemas.openxmlformats.org/officeDocument/2006/relationships/slideLayout" Target="../slideLayouts/slideLayout307.xml"/><Relationship Id="rId10" Type="http://schemas.openxmlformats.org/officeDocument/2006/relationships/slideLayout" Target="../slideLayouts/slideLayout312.xml"/><Relationship Id="rId4" Type="http://schemas.openxmlformats.org/officeDocument/2006/relationships/slideLayout" Target="../slideLayouts/slideLayout306.xml"/><Relationship Id="rId9" Type="http://schemas.openxmlformats.org/officeDocument/2006/relationships/slideLayout" Target="../slideLayouts/slideLayout311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1.xml"/><Relationship Id="rId13" Type="http://schemas.openxmlformats.org/officeDocument/2006/relationships/image" Target="../media/image20.jpeg"/><Relationship Id="rId3" Type="http://schemas.openxmlformats.org/officeDocument/2006/relationships/slideLayout" Target="../slideLayouts/slideLayout316.xml"/><Relationship Id="rId7" Type="http://schemas.openxmlformats.org/officeDocument/2006/relationships/slideLayout" Target="../slideLayouts/slideLayout320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315.xml"/><Relationship Id="rId1" Type="http://schemas.openxmlformats.org/officeDocument/2006/relationships/slideLayout" Target="../slideLayouts/slideLayout314.xml"/><Relationship Id="rId6" Type="http://schemas.openxmlformats.org/officeDocument/2006/relationships/slideLayout" Target="../slideLayouts/slideLayout319.xml"/><Relationship Id="rId11" Type="http://schemas.openxmlformats.org/officeDocument/2006/relationships/slideLayout" Target="../slideLayouts/slideLayout324.xml"/><Relationship Id="rId5" Type="http://schemas.openxmlformats.org/officeDocument/2006/relationships/slideLayout" Target="../slideLayouts/slideLayout318.xml"/><Relationship Id="rId10" Type="http://schemas.openxmlformats.org/officeDocument/2006/relationships/slideLayout" Target="../slideLayouts/slideLayout323.xml"/><Relationship Id="rId4" Type="http://schemas.openxmlformats.org/officeDocument/2006/relationships/slideLayout" Target="../slideLayouts/slideLayout317.xml"/><Relationship Id="rId9" Type="http://schemas.openxmlformats.org/officeDocument/2006/relationships/slideLayout" Target="../slideLayouts/slideLayout3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image" Target="../media/image1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301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249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00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fld id="{2BF63264-D672-47F2-8860-2FECE6E1E586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2576513" y="6627245"/>
            <a:ext cx="46799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n-US" sz="8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WCO Global AEO Conference, 28 to 30 April 2014, Madrid</a:t>
            </a:r>
            <a:endParaRPr lang="de-DE" sz="20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5524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</p:sldLayoutIdLst>
  <p:transition>
    <p:diamond/>
  </p:transition>
  <p:timing>
    <p:tnLst>
      <p:par>
        <p:cTn id="1" dur="indefinite" restart="never" nodeType="tmRoot"/>
      </p:par>
    </p:tnLst>
  </p:timing>
  <p:hf hdr="0" ft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fld id="{2B10B1BF-F7E0-48AE-AFC2-919339FC04B1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7351" name="Text Box 4"/>
          <p:cNvSpPr txBox="1">
            <a:spLocks noChangeArrowheads="1"/>
          </p:cNvSpPr>
          <p:nvPr/>
        </p:nvSpPr>
        <p:spPr bwMode="auto">
          <a:xfrm>
            <a:off x="0" y="6461126"/>
            <a:ext cx="66865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2713" indent="-112713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FontTx/>
              <a:buNone/>
            </a:pPr>
            <a:r>
              <a:rPr lang="en-US" altLang="en-US" sz="1000">
                <a:solidFill>
                  <a:srgbClr val="301614"/>
                </a:solidFill>
                <a:cs typeface="Arial" panose="020B0604020202020204" pitchFamily="34" charset="0"/>
              </a:rPr>
              <a:t>© Copyright 2010 United Parcel Service of America, Inc. UPS, the UPS brand mark and the color brown </a:t>
            </a:r>
          </a:p>
          <a:p>
            <a:pPr eaLnBrk="1" hangingPunct="1">
              <a:buFontTx/>
              <a:buNone/>
            </a:pPr>
            <a:r>
              <a:rPr lang="en-US" altLang="en-US" sz="1000">
                <a:solidFill>
                  <a:srgbClr val="301614"/>
                </a:solidFill>
                <a:cs typeface="Arial" panose="020B0604020202020204" pitchFamily="34" charset="0"/>
              </a:rPr>
              <a:t>are registered trademarks of United Parcel Service of America, Inc. All rights reserved.</a:t>
            </a:r>
          </a:p>
        </p:txBody>
      </p:sp>
      <p:sp>
        <p:nvSpPr>
          <p:cNvPr id="57352" name="Rectangle 8"/>
          <p:cNvSpPr>
            <a:spLocks noChangeArrowheads="1"/>
          </p:cNvSpPr>
          <p:nvPr/>
        </p:nvSpPr>
        <p:spPr bwMode="auto">
          <a:xfrm>
            <a:off x="2006998" y="679450"/>
            <a:ext cx="198855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spcBef>
                <a:spcPct val="20000"/>
              </a:spcBef>
              <a:buFontTx/>
              <a:buNone/>
            </a:pPr>
            <a:r>
              <a:rPr lang="en-US" altLang="en-US" sz="2800" b="1">
                <a:solidFill>
                  <a:srgbClr val="599116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889369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249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buFontTx/>
              <a:buNone/>
              <a:defRPr sz="1000" smtClean="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fld id="{2BF63264-D672-47F2-8860-2FECE6E1E586}" type="slidenum">
              <a:rPr lang="en-US" altLang="en-US" smtClean="0"/>
              <a:pPr/>
              <a:t>‹#›</a:t>
            </a:fld>
            <a:endParaRPr lang="en-US" altLang="en-US"/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2576513" y="6627245"/>
            <a:ext cx="46799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n-US" sz="8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WCO Global AEO Conference, 28 to 30 April 2014, Madrid</a:t>
            </a:r>
            <a:endParaRPr lang="de-DE" sz="20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839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</p:sldLayoutIdLst>
  <p:transition>
    <p:diamond/>
  </p:transition>
  <p:timing>
    <p:tnLst>
      <p:par>
        <p:cTn id="1" dur="indefinite" restart="never" nodeType="tmRoot"/>
      </p:par>
    </p:tnLst>
  </p:timing>
  <p:hf hdr="0" ft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249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buFontTx/>
              <a:buNone/>
              <a:defRPr sz="1000" smtClean="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DDF45C0-5FC2-4AE7-929A-1757AF3C6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46571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249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buFontTx/>
              <a:buNone/>
              <a:defRPr sz="1000" smtClean="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3C73BC2-2546-4F49-8289-AA382AFF60B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84442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585245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5852452" cy="459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buFontTx/>
              <a:buNone/>
              <a:defRPr sz="1000" smtClean="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2B4393E-FE71-4CD0-9B3B-62097E8C331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03245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249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buFontTx/>
              <a:buNone/>
              <a:defRPr sz="1000" smtClean="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C6A7CD1-DBA8-47D1-A83E-8A35FD57ED8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91486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60261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1" y="1600200"/>
            <a:ext cx="586621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buFontTx/>
              <a:buNone/>
              <a:defRPr sz="1000" smtClean="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F6DBE7E-9681-4375-8E8C-2B6CF6D78F8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02588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585245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71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5852452" cy="459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buFontTx/>
              <a:buNone/>
              <a:defRPr sz="1000" smtClean="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B8B8539-7AF4-4C78-89B7-F529ECE34A2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23398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819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0"/>
              </a:spcBef>
              <a:buFontTx/>
              <a:buNone/>
              <a:defRPr sz="1000" smtClean="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74BEB58-D7C1-49FF-B398-61C6E0A6DC2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44001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96" r:id="rId12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5" name="Slide Number Placeholder 3"/>
          <p:cNvSpPr txBox="1">
            <a:spLocks noGrp="1"/>
          </p:cNvSpPr>
          <p:nvPr/>
        </p:nvSpPr>
        <p:spPr bwMode="auto">
          <a:xfrm>
            <a:off x="7472495" y="6497638"/>
            <a:ext cx="231140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49C590AA-FB40-42FE-8167-BBE3B5D3F95E}" type="slidenum">
              <a:rPr lang="en-US"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2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299245" y="274638"/>
            <a:ext cx="924216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734460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608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249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00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fld id="{51481F22-3637-4BA2-908F-8505F2BD101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51329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spcBef>
                <a:spcPct val="0"/>
              </a:spcBef>
              <a:buFontTx/>
              <a:buNone/>
              <a:defRPr sz="1200" smtClean="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5E90117-F07B-4ED7-9513-C3DCF5FE497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57351" name="Text Box 4"/>
          <p:cNvSpPr txBox="1">
            <a:spLocks noChangeArrowheads="1"/>
          </p:cNvSpPr>
          <p:nvPr/>
        </p:nvSpPr>
        <p:spPr bwMode="auto">
          <a:xfrm>
            <a:off x="0" y="6461126"/>
            <a:ext cx="66865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12713" indent="-112713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000" smtClean="0">
                <a:solidFill>
                  <a:srgbClr val="301614"/>
                </a:solidFill>
                <a:cs typeface="Arial" panose="020B0604020202020204" pitchFamily="34" charset="0"/>
              </a:rPr>
              <a:t>© Copyright 2010 United Parcel Service of America, Inc. UPS, the UPS brand mark and the color brown </a:t>
            </a:r>
          </a:p>
          <a:p>
            <a:pPr eaLnBrk="1" hangingPunct="1">
              <a:defRPr/>
            </a:pPr>
            <a:r>
              <a:rPr lang="en-US" altLang="en-US" sz="1000" smtClean="0">
                <a:solidFill>
                  <a:srgbClr val="301614"/>
                </a:solidFill>
                <a:cs typeface="Arial" panose="020B0604020202020204" pitchFamily="34" charset="0"/>
              </a:rPr>
              <a:t>are registered trademarks of United Parcel Service of America, Inc. All rights reserved.</a:t>
            </a:r>
          </a:p>
        </p:txBody>
      </p:sp>
      <p:sp>
        <p:nvSpPr>
          <p:cNvPr id="57352" name="Rectangle 8"/>
          <p:cNvSpPr>
            <a:spLocks noChangeArrowheads="1"/>
          </p:cNvSpPr>
          <p:nvPr/>
        </p:nvSpPr>
        <p:spPr bwMode="auto">
          <a:xfrm>
            <a:off x="2006998" y="679450"/>
            <a:ext cx="198855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914400" eaLnBrk="1" hangingPunct="1">
              <a:spcBef>
                <a:spcPct val="20000"/>
              </a:spcBef>
              <a:defRPr/>
            </a:pPr>
            <a:r>
              <a:rPr lang="en-US" altLang="en-US" sz="2800" b="1" smtClean="0">
                <a:solidFill>
                  <a:srgbClr val="599116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247255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log1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906000" cy="706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228850" y="2286000"/>
            <a:ext cx="3962400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ITLE GOES HERE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22800" y="1371600"/>
            <a:ext cx="503555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Subtitle subtitle subtitle subtitle subtitle subtitle</a:t>
            </a:r>
          </a:p>
          <a:p>
            <a:pPr lvl="0"/>
            <a:r>
              <a:rPr lang="en-US" altLang="en-US" smtClean="0"/>
              <a:t>subtitle subtitle subtitle subtitle subtitle subtitle</a:t>
            </a:r>
          </a:p>
        </p:txBody>
      </p:sp>
    </p:spTree>
    <p:extLst>
      <p:ext uri="{BB962C8B-B14F-4D97-AF65-F5344CB8AC3E}">
        <p14:creationId xmlns:p14="http://schemas.microsoft.com/office/powerpoint/2010/main" val="3367179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600" i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log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906000" cy="706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28850" y="2286000"/>
            <a:ext cx="3962400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ITLE GOES HE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22800" y="1371600"/>
            <a:ext cx="503555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Subtitle subtitle subtitle subtitle subtitle subtitle</a:t>
            </a:r>
          </a:p>
          <a:p>
            <a:pPr lvl="0"/>
            <a:r>
              <a:rPr lang="en-US" altLang="en-US" smtClean="0"/>
              <a:t>subtitle subtitle subtitle subtitle subtitle subtitle</a:t>
            </a:r>
          </a:p>
        </p:txBody>
      </p:sp>
    </p:spTree>
    <p:extLst>
      <p:ext uri="{BB962C8B-B14F-4D97-AF65-F5344CB8AC3E}">
        <p14:creationId xmlns:p14="http://schemas.microsoft.com/office/powerpoint/2010/main" val="3139297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600" i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5" descr="log1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906000" cy="706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228850" y="2286000"/>
            <a:ext cx="3962400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ITLE GOES HER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22800" y="1371600"/>
            <a:ext cx="503555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Subtitle subtitle subtitle subtitle subtitle subtitle</a:t>
            </a:r>
          </a:p>
          <a:p>
            <a:pPr lvl="0"/>
            <a:r>
              <a:rPr lang="en-US" altLang="en-US" smtClean="0"/>
              <a:t>subtitle subtitle subtitle subtitle subtitle subtitle</a:t>
            </a:r>
          </a:p>
        </p:txBody>
      </p:sp>
    </p:spTree>
    <p:extLst>
      <p:ext uri="{BB962C8B-B14F-4D97-AF65-F5344CB8AC3E}">
        <p14:creationId xmlns:p14="http://schemas.microsoft.com/office/powerpoint/2010/main" val="4258720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600" i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5" descr="log1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906000" cy="706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228850" y="2286000"/>
            <a:ext cx="3962400" cy="228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TITLE GOES HER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22800" y="1371600"/>
            <a:ext cx="503555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Subtitle subtitle subtitle subtitle subtitle subtitle</a:t>
            </a:r>
          </a:p>
          <a:p>
            <a:pPr lvl="0"/>
            <a:r>
              <a:rPr lang="en-US" altLang="en-US" smtClean="0"/>
              <a:t>subtitle subtitle subtitle subtitle subtitle subtitle</a:t>
            </a:r>
          </a:p>
        </p:txBody>
      </p:sp>
    </p:spTree>
    <p:extLst>
      <p:ext uri="{BB962C8B-B14F-4D97-AF65-F5344CB8AC3E}">
        <p14:creationId xmlns:p14="http://schemas.microsoft.com/office/powerpoint/2010/main" val="2295448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1" r:id="rId8"/>
    <p:sldLayoutId id="2147484042" r:id="rId9"/>
    <p:sldLayoutId id="2147484043" r:id="rId10"/>
    <p:sldLayoutId id="2147484044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5400">
          <a:solidFill>
            <a:schemeClr val="tx2"/>
          </a:solidFill>
          <a:latin typeface="UPSSans Extra Bold Ext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600" i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7" descr="log1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06375"/>
            <a:ext cx="9906000" cy="706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Slide title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365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5063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b="1" u="sng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Sabon LT Std" pitchFamily="18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i="1">
          <a:solidFill>
            <a:schemeClr val="tx1"/>
          </a:solidFill>
          <a:latin typeface="Sabon LT Std" pitchFamily="18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5" descr="log16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07963"/>
            <a:ext cx="9906000" cy="706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Slide title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365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C9A8E4BB-4168-4012-9996-5688103AED3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39310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b="1" u="sng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Sabon LT Std" pitchFamily="18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i="1">
          <a:solidFill>
            <a:schemeClr val="tx1"/>
          </a:solidFill>
          <a:latin typeface="Sabon LT Std" pitchFamily="18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5" descr="log1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66700"/>
            <a:ext cx="9988550" cy="712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Slide title</a:t>
            </a:r>
          </a:p>
        </p:txBody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365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666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b="1" u="sng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Sabon LT Std" pitchFamily="18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i="1">
          <a:solidFill>
            <a:schemeClr val="tx1"/>
          </a:solidFill>
          <a:latin typeface="Sabon LT Std" pitchFamily="18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819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CB7292AC-D603-4097-B1AE-C7A0262078B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50626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  <p:sldLayoutId id="2147484088" r:id="rId7"/>
    <p:sldLayoutId id="2147484089" r:id="rId8"/>
    <p:sldLayoutId id="2147484090" r:id="rId9"/>
    <p:sldLayoutId id="2147484091" r:id="rId10"/>
    <p:sldLayoutId id="2147484092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5" descr="log18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06375"/>
            <a:ext cx="9906000" cy="706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Slide title</a:t>
            </a:r>
          </a:p>
        </p:txBody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365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1739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2" r:id="rId9"/>
    <p:sldLayoutId id="2147484103" r:id="rId10"/>
    <p:sldLayoutId id="2147484104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UPSSans Extra Bold Ext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b="1" u="sng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Sabon LT Std" pitchFamily="18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i="1">
          <a:solidFill>
            <a:schemeClr val="tx1"/>
          </a:solidFill>
          <a:latin typeface="Sabon LT Std" pitchFamily="18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532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249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00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fld id="{62810190-5964-4AEA-B5EC-32C14EA2E86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43753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585245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552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5852452" cy="459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00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fld id="{1BD564FB-4958-470A-BB21-2EF896B3DF6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00425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813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249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00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fld id="{5DD1DD42-FBA8-46E0-B869-89F52381688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54170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60261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5017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1" y="1600200"/>
            <a:ext cx="5866210" cy="45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00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fld id="{8D2A1F1F-26C3-4BDC-A642-401800CD4CD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5814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585245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5120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5852452" cy="459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00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fld id="{8DB7691C-F2C1-41C8-9080-ADFDDB9947A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33055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522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FontTx/>
              <a:buNone/>
              <a:defRPr sz="1000">
                <a:solidFill>
                  <a:srgbClr val="FFFFFF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1200">
                <a:solidFill>
                  <a:schemeClr val="bg1"/>
                </a:solidFill>
                <a:cs typeface="Arial" panose="020B0604020202020204" pitchFamily="34" charset="0"/>
              </a:defRPr>
            </a:lvl1pPr>
          </a:lstStyle>
          <a:p>
            <a:fld id="{C7B1561B-5DB2-451C-A4D3-1E723C38209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10401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rgbClr val="301614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400" kern="1200">
          <a:solidFill>
            <a:srgbClr val="301614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400" kern="1200">
          <a:solidFill>
            <a:srgbClr val="3016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5" name="Slide Number Placeholder 3"/>
          <p:cNvSpPr txBox="1">
            <a:spLocks noGrp="1"/>
          </p:cNvSpPr>
          <p:nvPr/>
        </p:nvSpPr>
        <p:spPr bwMode="auto">
          <a:xfrm>
            <a:off x="7472495" y="6497638"/>
            <a:ext cx="231140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buFontTx/>
              <a:buNone/>
            </a:pPr>
            <a:fld id="{793E62B1-A8F8-40DD-8E63-4B80D57AA37F}" type="slidenum">
              <a:rPr lang="en-US" altLang="en-US" sz="1200">
                <a:solidFill>
                  <a:schemeClr val="bg1"/>
                </a:solidFill>
                <a:cs typeface="Arial" panose="020B0604020202020204" pitchFamily="34" charset="0"/>
              </a:rPr>
              <a:pPr algn="r" eaLnBrk="1" hangingPunct="1">
                <a:buFontTx/>
                <a:buNone/>
              </a:pPr>
              <a:t>‹#›</a:t>
            </a:fld>
            <a:endParaRPr lang="en-US" altLang="en-US" sz="12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5837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299245" y="274638"/>
            <a:ext cx="924216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91500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800" b="1" kern="1200">
          <a:solidFill>
            <a:srgbClr val="599116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599116"/>
          </a:solidFill>
          <a:latin typeface="Arial" panose="020B0604020202020204" pitchFamily="34" charset="0"/>
          <a:ea typeface="ＭＳ Ｐゴシック" panose="020B0600070205080204" pitchFamily="34" charset="-128"/>
          <a:cs typeface="Arial" panose="020B0604020202020204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Folie" r:id="rId5" imgW="0" imgH="0" progId="TCLayout.ActiveDocument.1">
                  <p:embed/>
                </p:oleObj>
              </mc:Choice>
              <mc:Fallback>
                <p:oleObj name="think-cell Folie" r:id="rId5" imgW="0" imgH="0" progId="TCLayout.ActiveDocument.1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el 1"/>
          <p:cNvSpPr>
            <a:spLocks noGrp="1"/>
          </p:cNvSpPr>
          <p:nvPr>
            <p:ph type="title"/>
          </p:nvPr>
        </p:nvSpPr>
        <p:spPr>
          <a:xfrm>
            <a:off x="1280592" y="188640"/>
            <a:ext cx="8915400" cy="3168352"/>
          </a:xfrm>
        </p:spPr>
        <p:txBody>
          <a:bodyPr/>
          <a:lstStyle/>
          <a:p>
            <a:pPr algn="ctr"/>
            <a:r>
              <a:rPr lang="en-US" sz="3200" b="1" dirty="0" smtClean="0"/>
              <a:t>“ABC – Accelerated Border Clearance</a:t>
            </a:r>
            <a:r>
              <a:rPr lang="en-US" sz="3200" b="1" dirty="0" smtClean="0"/>
              <a:t>”</a:t>
            </a:r>
            <a:br>
              <a:rPr lang="en-US" sz="3200" b="1" dirty="0" smtClean="0"/>
            </a:br>
            <a:r>
              <a:rPr lang="en-US" sz="3200" b="1" dirty="0"/>
              <a:t/>
            </a:r>
            <a:br>
              <a:rPr lang="en-US" sz="3200" b="1" dirty="0"/>
            </a:br>
            <a:r>
              <a:rPr lang="en-US" sz="3200" b="1" dirty="0" smtClean="0"/>
              <a:t/>
            </a:r>
            <a:br>
              <a:rPr lang="en-US" sz="3200" b="1" dirty="0" smtClean="0"/>
            </a:br>
            <a:r>
              <a:rPr lang="en-US" sz="2800" b="1" dirty="0" smtClean="0"/>
              <a:t>An </a:t>
            </a:r>
            <a:r>
              <a:rPr lang="en-US" sz="2800" b="1" dirty="0" smtClean="0"/>
              <a:t>Innovative Idea by </a:t>
            </a:r>
            <a:br>
              <a:rPr lang="en-US" sz="2800" b="1" dirty="0" smtClean="0"/>
            </a:br>
            <a:r>
              <a:rPr lang="en-US" sz="2800" b="1" dirty="0" smtClean="0"/>
              <a:t>Global Express Association (GEA</a:t>
            </a:r>
            <a:r>
              <a:rPr lang="en-US" sz="2800" b="1" dirty="0" smtClean="0"/>
              <a:t>)</a:t>
            </a:r>
            <a:endParaRPr lang="en-US" sz="3600" b="1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7594600" y="6356350"/>
            <a:ext cx="2311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63D9400F-D2BC-4A1A-B873-84FDC3709783}" type="slidenum">
              <a:rPr lang="de-DE"/>
              <a:pPr>
                <a:defRPr/>
              </a:pPr>
              <a:t>1</a:t>
            </a:fld>
            <a:endParaRPr lang="de-DE"/>
          </a:p>
        </p:txBody>
      </p:sp>
      <p:sp>
        <p:nvSpPr>
          <p:cNvPr id="2" name="TextBox 1"/>
          <p:cNvSpPr txBox="1"/>
          <p:nvPr/>
        </p:nvSpPr>
        <p:spPr>
          <a:xfrm>
            <a:off x="2216696" y="5808377"/>
            <a:ext cx="38884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dvisory Committee on Supply Chain Competitiveness (ACSCC)</a:t>
            </a:r>
          </a:p>
          <a:p>
            <a:r>
              <a:rPr lang="en-US" b="1" dirty="0" smtClean="0"/>
              <a:t>June 23, 2015</a:t>
            </a:r>
            <a:endParaRPr lang="en-US" b="1" dirty="0"/>
          </a:p>
        </p:txBody>
      </p:sp>
    </p:spTree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0" y="1124744"/>
            <a:ext cx="9274175" cy="585787"/>
          </a:xfrm>
          <a:prstGeom prst="rect">
            <a:avLst/>
          </a:prstGeom>
        </p:spPr>
        <p:txBody>
          <a:bodyPr/>
          <a:lstStyle/>
          <a:p>
            <a:pPr algn="ctr">
              <a:buNone/>
            </a:pPr>
            <a:r>
              <a:rPr lang="en-US" sz="2400" b="1" u="none" dirty="0" smtClean="0">
                <a:ea typeface="Tahoma" pitchFamily="34" charset="0"/>
                <a:cs typeface="Tahoma" pitchFamily="34" charset="0"/>
              </a:rPr>
              <a:t>Introduction</a:t>
            </a:r>
            <a:endParaRPr lang="en-US" sz="2400" b="1" u="none" dirty="0"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736013" y="6580188"/>
            <a:ext cx="1169987" cy="277812"/>
          </a:xfrm>
        </p:spPr>
        <p:txBody>
          <a:bodyPr/>
          <a:lstStyle/>
          <a:p>
            <a:pPr>
              <a:defRPr/>
            </a:pPr>
            <a:fld id="{4388EA56-FFC3-423A-86ED-21FAC1EE3800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idx="4294967295"/>
          </p:nvPr>
        </p:nvSpPr>
        <p:spPr>
          <a:xfrm>
            <a:off x="416496" y="1701006"/>
            <a:ext cx="9289032" cy="4537075"/>
          </a:xfrm>
        </p:spPr>
        <p:txBody>
          <a:bodyPr/>
          <a:lstStyle/>
          <a:p>
            <a:r>
              <a:rPr lang="en-US" sz="2400" b="0" u="none" dirty="0" smtClean="0"/>
              <a:t>Smooth border facilitation is a critical component of international trade and has become a significant driver to economic growth.</a:t>
            </a:r>
          </a:p>
          <a:p>
            <a:endParaRPr lang="en-US" sz="2400" b="0" u="none" dirty="0"/>
          </a:p>
          <a:p>
            <a:r>
              <a:rPr lang="en-US" sz="2400" b="0" u="none" dirty="0" smtClean="0"/>
              <a:t>Single Window is a positive step forward; however, it still leaves many </a:t>
            </a:r>
            <a:r>
              <a:rPr lang="en-US" sz="2400" b="0" u="none" dirty="0" smtClean="0"/>
              <a:t>border process issues </a:t>
            </a:r>
            <a:r>
              <a:rPr lang="en-US" sz="2400" b="0" u="none" dirty="0" smtClean="0"/>
              <a:t>unresolved.</a:t>
            </a:r>
          </a:p>
          <a:p>
            <a:endParaRPr lang="en-US" sz="2400" b="0" u="none" dirty="0"/>
          </a:p>
          <a:p>
            <a:r>
              <a:rPr lang="en-US" sz="2400" b="0" u="none" dirty="0" smtClean="0"/>
              <a:t>The “ABC” model connects the dots on many of the new customs programs and provides a highly efficient and compliant clearance process.</a:t>
            </a:r>
            <a:endParaRPr lang="en-US" sz="2400" b="0" u="none" dirty="0"/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198438"/>
            <a:ext cx="6124575" cy="585787"/>
          </a:xfrm>
        </p:spPr>
        <p:txBody>
          <a:bodyPr/>
          <a:lstStyle/>
          <a:p>
            <a:r>
              <a:rPr lang="en-US" sz="3200" b="1" dirty="0" smtClean="0">
                <a:latin typeface="+mn-lt"/>
                <a:ea typeface="Tahoma" pitchFamily="34" charset="0"/>
                <a:cs typeface="Tahoma" pitchFamily="34" charset="0"/>
              </a:rPr>
              <a:t>“ABC” Clearance Model</a:t>
            </a:r>
            <a:endParaRPr lang="en-US" sz="3200" b="1" dirty="0">
              <a:latin typeface="+mn-lt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9958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0" y="1115021"/>
            <a:ext cx="9274175" cy="585787"/>
          </a:xfrm>
          <a:prstGeom prst="rect">
            <a:avLst/>
          </a:prstGeom>
        </p:spPr>
        <p:txBody>
          <a:bodyPr/>
          <a:lstStyle/>
          <a:p>
            <a:pPr algn="ctr">
              <a:buNone/>
            </a:pPr>
            <a:r>
              <a:rPr lang="en-US" sz="2400" b="1" u="none" dirty="0" smtClean="0">
                <a:ea typeface="Tahoma" pitchFamily="34" charset="0"/>
                <a:cs typeface="Tahoma" pitchFamily="34" charset="0"/>
              </a:rPr>
              <a:t>The Basics</a:t>
            </a:r>
            <a:endParaRPr lang="en-US" sz="2400" b="1" u="none" dirty="0"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188640"/>
            <a:ext cx="6124575" cy="585788"/>
          </a:xfrm>
        </p:spPr>
        <p:txBody>
          <a:bodyPr/>
          <a:lstStyle/>
          <a:p>
            <a:r>
              <a:rPr lang="en-US" sz="3200" b="1" dirty="0" smtClean="0">
                <a:latin typeface="+mn-lt"/>
                <a:ea typeface="Tahoma" pitchFamily="34" charset="0"/>
                <a:cs typeface="Tahoma" pitchFamily="34" charset="0"/>
              </a:rPr>
              <a:t>“ABC” Clearance Model</a:t>
            </a:r>
            <a:endParaRPr lang="en-US" sz="3200" b="1" dirty="0"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4294967295"/>
          </p:nvPr>
        </p:nvSpPr>
        <p:spPr>
          <a:xfrm>
            <a:off x="488504" y="1628800"/>
            <a:ext cx="9145016" cy="4176713"/>
          </a:xfrm>
        </p:spPr>
        <p:txBody>
          <a:bodyPr/>
          <a:lstStyle/>
          <a:p>
            <a:r>
              <a:rPr lang="en-US" sz="2400" b="0" u="none" dirty="0" smtClean="0"/>
              <a:t>The “ABC” model replaces the current clearance processes being used by most countries around the world.</a:t>
            </a:r>
          </a:p>
          <a:p>
            <a:r>
              <a:rPr lang="en-US" sz="2400" b="0" u="none" dirty="0" smtClean="0"/>
              <a:t>The foundation of the “ABC” model is based on a strong security program, supported by an intensive pre-certification of the entities, </a:t>
            </a:r>
            <a:r>
              <a:rPr lang="en-US" sz="2400" b="0" u="none" dirty="0" smtClean="0"/>
              <a:t>commodities, </a:t>
            </a:r>
            <a:r>
              <a:rPr lang="en-US" sz="2400" b="0" u="none" dirty="0" smtClean="0"/>
              <a:t>and the supply chain.</a:t>
            </a:r>
          </a:p>
          <a:p>
            <a:r>
              <a:rPr lang="en-US" sz="2400" b="0" u="none" dirty="0" smtClean="0"/>
              <a:t>Companies volunteer to participate based on their willingness to meet the pre-certification requirements.</a:t>
            </a:r>
          </a:p>
          <a:p>
            <a:r>
              <a:rPr lang="en-US" sz="2400" b="0" u="none" dirty="0" smtClean="0"/>
              <a:t>Border agencies cooperation is required.</a:t>
            </a:r>
            <a:endParaRPr lang="en-US" sz="1800" b="0" u="none" dirty="0"/>
          </a:p>
          <a:p>
            <a:r>
              <a:rPr lang="en-US" sz="2400" b="0" u="none" dirty="0" smtClean="0"/>
              <a:t>The “ABC” model would not apply to occasional or one-time traders.</a:t>
            </a:r>
            <a:endParaRPr lang="en-US" sz="2400" b="0" u="non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736013" y="6580188"/>
            <a:ext cx="1169987" cy="277812"/>
          </a:xfrm>
        </p:spPr>
        <p:txBody>
          <a:bodyPr/>
          <a:lstStyle/>
          <a:p>
            <a:pPr>
              <a:defRPr/>
            </a:pPr>
            <a:fld id="{4388EA56-FFC3-423A-86ED-21FAC1EE3800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9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1" y="908720"/>
            <a:ext cx="9078252" cy="585787"/>
          </a:xfrm>
          <a:prstGeom prst="rect">
            <a:avLst/>
          </a:prstGeom>
        </p:spPr>
        <p:txBody>
          <a:bodyPr/>
          <a:lstStyle/>
          <a:p>
            <a:pPr algn="ctr">
              <a:buNone/>
            </a:pPr>
            <a:r>
              <a:rPr lang="en-US" sz="2400" b="1" u="none" dirty="0" smtClean="0">
                <a:ea typeface="Tahoma" pitchFamily="34" charset="0"/>
                <a:cs typeface="Tahoma" pitchFamily="34" charset="0"/>
              </a:rPr>
              <a:t>How It Works</a:t>
            </a:r>
            <a:endParaRPr lang="en-US" sz="2400" b="1" u="none" dirty="0"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196850"/>
            <a:ext cx="6124575" cy="584200"/>
          </a:xfrm>
        </p:spPr>
        <p:txBody>
          <a:bodyPr/>
          <a:lstStyle/>
          <a:p>
            <a:r>
              <a:rPr lang="en-US" sz="3200" b="1" dirty="0" smtClean="0">
                <a:latin typeface="+mn-lt"/>
                <a:ea typeface="Tahoma" pitchFamily="34" charset="0"/>
                <a:cs typeface="Tahoma" pitchFamily="34" charset="0"/>
              </a:rPr>
              <a:t>“ABC” Clearance Model</a:t>
            </a:r>
            <a:endParaRPr lang="en-US" sz="3200" b="1" dirty="0"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4294967295"/>
          </p:nvPr>
        </p:nvSpPr>
        <p:spPr>
          <a:xfrm>
            <a:off x="416496" y="1494507"/>
            <a:ext cx="9289032" cy="3671888"/>
          </a:xfrm>
        </p:spPr>
        <p:txBody>
          <a:bodyPr/>
          <a:lstStyle/>
          <a:p>
            <a:r>
              <a:rPr lang="en-US" sz="2400" b="0" u="none" dirty="0" smtClean="0"/>
              <a:t>Security programs (AEO, ACAS) are combined with facilitation programs (authorized trader, deferred payment).</a:t>
            </a:r>
          </a:p>
          <a:p>
            <a:r>
              <a:rPr lang="en-US" sz="2400" b="0" u="none" dirty="0" smtClean="0"/>
              <a:t>Transactional controls for safety and revenue are replaced by pre-certification of entities and commodities and by account-based controls. Intel-based interventions remain.</a:t>
            </a:r>
          </a:p>
          <a:p>
            <a:r>
              <a:rPr lang="en-US" sz="2400" b="0" u="none" dirty="0" smtClean="0"/>
              <a:t>1. Step: Pre-loading filing for security risk assessment, immediate release upon </a:t>
            </a:r>
            <a:r>
              <a:rPr lang="en-US" sz="2400" b="0" u="none" dirty="0" smtClean="0"/>
              <a:t>arrival.</a:t>
            </a:r>
            <a:endParaRPr lang="en-US" sz="2400" b="0" u="none" dirty="0" smtClean="0"/>
          </a:p>
          <a:p>
            <a:r>
              <a:rPr lang="en-US" sz="2400" b="0" u="none" dirty="0" smtClean="0"/>
              <a:t>2. Step: Duties and taxes are </a:t>
            </a:r>
            <a:r>
              <a:rPr lang="en-US" sz="2400" b="0" u="none" dirty="0" smtClean="0"/>
              <a:t>paid </a:t>
            </a:r>
            <a:r>
              <a:rPr lang="en-US" sz="2400" b="0" u="none" dirty="0" smtClean="0"/>
              <a:t>periodically </a:t>
            </a:r>
            <a:r>
              <a:rPr lang="en-US" sz="2400" b="0" u="none" dirty="0" smtClean="0"/>
              <a:t>with </a:t>
            </a:r>
            <a:r>
              <a:rPr lang="en-US" sz="2400" b="0" u="none" dirty="0" smtClean="0"/>
              <a:t>a periodic declaration summarizing all entries </a:t>
            </a:r>
            <a:r>
              <a:rPr lang="en-US" sz="2400" b="0" u="none" dirty="0" smtClean="0"/>
              <a:t>for the </a:t>
            </a:r>
            <a:r>
              <a:rPr lang="en-US" sz="2400" b="0" u="none" dirty="0" smtClean="0"/>
              <a:t>given period.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736013" y="6580188"/>
            <a:ext cx="1169987" cy="277812"/>
          </a:xfrm>
        </p:spPr>
        <p:txBody>
          <a:bodyPr/>
          <a:lstStyle/>
          <a:p>
            <a:pPr>
              <a:defRPr/>
            </a:pPr>
            <a:fld id="{4388EA56-FFC3-423A-86ED-21FAC1EE3800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92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5"/>
          <p:cNvSpPr>
            <a:spLocks noChangeArrowheads="1"/>
          </p:cNvSpPr>
          <p:nvPr/>
        </p:nvSpPr>
        <p:spPr bwMode="auto">
          <a:xfrm>
            <a:off x="314474" y="44624"/>
            <a:ext cx="7878886" cy="1035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en-US" sz="3200" b="1" dirty="0" smtClean="0">
                <a:solidFill>
                  <a:schemeClr val="tx2"/>
                </a:solidFill>
                <a:latin typeface="+mn-lt"/>
              </a:rPr>
              <a:t>“ABC” Clearance Model</a:t>
            </a:r>
            <a:endParaRPr lang="en-US" sz="3200" b="1" dirty="0">
              <a:solidFill>
                <a:schemeClr val="tx2"/>
              </a:solidFill>
              <a:latin typeface="+mn-lt"/>
            </a:endParaRPr>
          </a:p>
          <a:p>
            <a:r>
              <a:rPr lang="en-US" sz="2400" dirty="0">
                <a:solidFill>
                  <a:schemeClr val="tx2"/>
                </a:solidFill>
                <a:latin typeface="+mn-lt"/>
              </a:rPr>
              <a:t>Phased Approach to Simplification of Clearance Process</a:t>
            </a:r>
          </a:p>
        </p:txBody>
      </p:sp>
      <p:graphicFrame>
        <p:nvGraphicFramePr>
          <p:cNvPr id="10351" name="Group 11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99930190"/>
              </p:ext>
            </p:extLst>
          </p:nvPr>
        </p:nvGraphicFramePr>
        <p:xfrm>
          <a:off x="305370" y="2853320"/>
          <a:ext cx="9328150" cy="2951944"/>
        </p:xfrm>
        <a:graphic>
          <a:graphicData uri="http://schemas.openxmlformats.org/drawingml/2006/table">
            <a:tbl>
              <a:tblPr/>
              <a:tblGrid>
                <a:gridCol w="2476500"/>
                <a:gridCol w="990600"/>
                <a:gridCol w="1939925"/>
                <a:gridCol w="1939925"/>
                <a:gridCol w="1981200"/>
              </a:tblGrid>
              <a:tr h="365125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 </a:t>
                      </a: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38188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Current Model</a:t>
                      </a:r>
                    </a:p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4 Steps 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Security filing, e.g. ACAS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Pre-Arrival Entry            Other Government              </a:t>
                      </a: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(Transactional)              Agencies (OGA) Releases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Release and Clearance</a:t>
                      </a: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Payment 10 days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50888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Single Window</a:t>
                      </a:r>
                    </a:p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3 Steps</a:t>
                      </a: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Security filing, e.g. ACAS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Pre-Arrival Single Window  processing</a:t>
                      </a:r>
                    </a:p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     - Other Government Agencies</a:t>
                      </a:r>
                    </a:p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      - Transactional Process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Release and Clearance</a:t>
                      </a:r>
                    </a:p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Payment 10 days</a:t>
                      </a:r>
                    </a:p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88"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“ABC”</a:t>
                      </a:r>
                      <a:b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</a:b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2 Steps</a:t>
                      </a: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Advance Processing and</a:t>
                      </a: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Account Based Controls</a:t>
                      </a: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Security filing, e.g. ACAS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Authorized Trader Certification </a:t>
                      </a:r>
                    </a:p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Period Entry / </a:t>
                      </a:r>
                    </a:p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Deferred payment</a:t>
                      </a:r>
                    </a:p>
                    <a:p>
                      <a:pPr marL="342900" marR="0" lvl="0" indent="-34290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9060" marR="99060" marT="45677" marB="4567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2" name="Group 136"/>
          <p:cNvGrpSpPr>
            <a:grpSpLocks/>
          </p:cNvGrpSpPr>
          <p:nvPr/>
        </p:nvGrpSpPr>
        <p:grpSpPr bwMode="auto">
          <a:xfrm>
            <a:off x="3714750" y="2232160"/>
            <a:ext cx="5861050" cy="655638"/>
            <a:chOff x="1392" y="979"/>
            <a:chExt cx="2784" cy="413"/>
          </a:xfrm>
          <a:solidFill>
            <a:schemeClr val="accent3">
              <a:lumMod val="75000"/>
            </a:schemeClr>
          </a:solidFill>
        </p:grpSpPr>
        <p:sp>
          <p:nvSpPr>
            <p:cNvPr id="3145" name="AutoShape 117"/>
            <p:cNvSpPr>
              <a:spLocks noChangeArrowheads="1"/>
            </p:cNvSpPr>
            <p:nvPr/>
          </p:nvSpPr>
          <p:spPr bwMode="auto">
            <a:xfrm>
              <a:off x="1392" y="979"/>
              <a:ext cx="2784" cy="413"/>
            </a:xfrm>
            <a:prstGeom prst="notchedRightArrow">
              <a:avLst>
                <a:gd name="adj1" fmla="val 47213"/>
                <a:gd name="adj2" fmla="val 70218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3146" name="Text Box 118"/>
            <p:cNvSpPr txBox="1">
              <a:spLocks noChangeArrowheads="1"/>
            </p:cNvSpPr>
            <p:nvPr/>
          </p:nvSpPr>
          <p:spPr bwMode="auto">
            <a:xfrm>
              <a:off x="1794" y="1108"/>
              <a:ext cx="2204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defRPr/>
              </a:pPr>
              <a:r>
                <a:rPr lang="en-US" sz="1200" b="1" dirty="0" smtClean="0"/>
                <a:t>	Safety			Revenue</a:t>
              </a:r>
            </a:p>
          </p:txBody>
        </p:sp>
      </p:grpSp>
      <p:grpSp>
        <p:nvGrpSpPr>
          <p:cNvPr id="4" name="Group 71"/>
          <p:cNvGrpSpPr>
            <a:grpSpLocks/>
          </p:cNvGrpSpPr>
          <p:nvPr/>
        </p:nvGrpSpPr>
        <p:grpSpPr bwMode="auto">
          <a:xfrm>
            <a:off x="247650" y="1194595"/>
            <a:ext cx="825500" cy="890587"/>
            <a:chOff x="144" y="668"/>
            <a:chExt cx="480" cy="561"/>
          </a:xfrm>
        </p:grpSpPr>
        <p:pic>
          <p:nvPicPr>
            <p:cNvPr id="10313" name="Picture 87" descr="MC900229315[1]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44" y="668"/>
              <a:ext cx="403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14" name="Text Box 138"/>
            <p:cNvSpPr txBox="1">
              <a:spLocks noChangeArrowheads="1"/>
            </p:cNvSpPr>
            <p:nvPr/>
          </p:nvSpPr>
          <p:spPr bwMode="auto">
            <a:xfrm>
              <a:off x="144" y="1056"/>
              <a:ext cx="480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/>
                <a:t>Pick-up</a:t>
              </a:r>
            </a:p>
          </p:txBody>
        </p:sp>
      </p:grpSp>
      <p:grpSp>
        <p:nvGrpSpPr>
          <p:cNvPr id="5" name="Group 78"/>
          <p:cNvGrpSpPr>
            <a:grpSpLocks/>
          </p:cNvGrpSpPr>
          <p:nvPr/>
        </p:nvGrpSpPr>
        <p:grpSpPr bwMode="auto">
          <a:xfrm>
            <a:off x="7924800" y="1194595"/>
            <a:ext cx="825500" cy="890587"/>
            <a:chOff x="4608" y="668"/>
            <a:chExt cx="480" cy="561"/>
          </a:xfrm>
        </p:grpSpPr>
        <p:pic>
          <p:nvPicPr>
            <p:cNvPr id="10311" name="Picture 88" descr="MC900229315[1]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656" y="668"/>
              <a:ext cx="403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12" name="Text Box 139"/>
            <p:cNvSpPr txBox="1">
              <a:spLocks noChangeArrowheads="1"/>
            </p:cNvSpPr>
            <p:nvPr/>
          </p:nvSpPr>
          <p:spPr bwMode="auto">
            <a:xfrm>
              <a:off x="4608" y="1056"/>
              <a:ext cx="480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/>
                <a:t>Delivery</a:t>
              </a:r>
            </a:p>
          </p:txBody>
        </p:sp>
      </p:grpSp>
      <p:grpSp>
        <p:nvGrpSpPr>
          <p:cNvPr id="6" name="Group 79"/>
          <p:cNvGrpSpPr>
            <a:grpSpLocks/>
          </p:cNvGrpSpPr>
          <p:nvPr/>
        </p:nvGrpSpPr>
        <p:grpSpPr bwMode="auto">
          <a:xfrm>
            <a:off x="8667750" y="1200944"/>
            <a:ext cx="1073150" cy="885825"/>
            <a:chOff x="5040" y="672"/>
            <a:chExt cx="624" cy="558"/>
          </a:xfrm>
        </p:grpSpPr>
        <p:sp>
          <p:nvSpPr>
            <p:cNvPr id="10308" name="Documents"/>
            <p:cNvSpPr>
              <a:spLocks noEditPoints="1" noChangeArrowheads="1"/>
            </p:cNvSpPr>
            <p:nvPr/>
          </p:nvSpPr>
          <p:spPr bwMode="auto">
            <a:xfrm>
              <a:off x="5040" y="672"/>
              <a:ext cx="144" cy="18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w 21600"/>
                <a:gd name="T17" fmla="*/ 0 h 21600"/>
                <a:gd name="T18" fmla="*/ 0 w 21600"/>
                <a:gd name="T19" fmla="*/ 0 h 21600"/>
                <a:gd name="T20" fmla="*/ 0 w 21600"/>
                <a:gd name="T21" fmla="*/ 0 h 21600"/>
                <a:gd name="T22" fmla="*/ 0 w 21600"/>
                <a:gd name="T23" fmla="*/ 0 h 216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1650 w 21600"/>
                <a:gd name="T37" fmla="*/ 4200 h 21600"/>
                <a:gd name="T38" fmla="*/ 16500 w 21600"/>
                <a:gd name="T39" fmla="*/ 17280 h 2160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1600" h="21600" extrusionOk="0">
                  <a:moveTo>
                    <a:pt x="0" y="18014"/>
                  </a:moveTo>
                  <a:lnTo>
                    <a:pt x="0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68" y="1428"/>
                  </a:lnTo>
                  <a:lnTo>
                    <a:pt x="3468" y="0"/>
                  </a:lnTo>
                  <a:lnTo>
                    <a:pt x="21653" y="0"/>
                  </a:lnTo>
                  <a:lnTo>
                    <a:pt x="21653" y="18828"/>
                  </a:lnTo>
                  <a:lnTo>
                    <a:pt x="19954" y="188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16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  <a:path w="21600" h="21600" extrusionOk="0">
                  <a:moveTo>
                    <a:pt x="3486" y="1428"/>
                  </a:moveTo>
                  <a:lnTo>
                    <a:pt x="19954" y="1428"/>
                  </a:lnTo>
                  <a:lnTo>
                    <a:pt x="19954" y="20214"/>
                  </a:lnTo>
                  <a:lnTo>
                    <a:pt x="18256" y="20214"/>
                  </a:lnTo>
                  <a:lnTo>
                    <a:pt x="18256" y="2800"/>
                  </a:lnTo>
                  <a:lnTo>
                    <a:pt x="1645" y="2800"/>
                  </a:lnTo>
                  <a:lnTo>
                    <a:pt x="1645" y="1428"/>
                  </a:lnTo>
                  <a:lnTo>
                    <a:pt x="3486" y="1428"/>
                  </a:lnTo>
                  <a:close/>
                </a:path>
                <a:path w="21600" h="21600" extrusionOk="0">
                  <a:moveTo>
                    <a:pt x="0" y="18014"/>
                  </a:moveTo>
                  <a:lnTo>
                    <a:pt x="4434" y="18000"/>
                  </a:lnTo>
                  <a:lnTo>
                    <a:pt x="4434" y="21600"/>
                  </a:lnTo>
                  <a:lnTo>
                    <a:pt x="0" y="18014"/>
                  </a:lnTo>
                  <a:close/>
                </a:path>
              </a:pathLst>
            </a:custGeom>
            <a:solidFill>
              <a:srgbClr val="D8EBB3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endParaRPr lang="en-US"/>
            </a:p>
          </p:txBody>
        </p:sp>
        <p:pic>
          <p:nvPicPr>
            <p:cNvPr id="10309" name="Picture 118" descr="View details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2" y="720"/>
              <a:ext cx="33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10" name="Text Box 140"/>
            <p:cNvSpPr txBox="1">
              <a:spLocks noChangeArrowheads="1"/>
            </p:cNvSpPr>
            <p:nvPr/>
          </p:nvSpPr>
          <p:spPr bwMode="auto">
            <a:xfrm>
              <a:off x="5136" y="1056"/>
              <a:ext cx="52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 dirty="0" smtClean="0"/>
                <a:t>Clearance</a:t>
              </a:r>
              <a:endParaRPr lang="en-US" sz="1200" dirty="0"/>
            </a:p>
          </p:txBody>
        </p:sp>
      </p:grpSp>
      <p:grpSp>
        <p:nvGrpSpPr>
          <p:cNvPr id="7" name="Group 74"/>
          <p:cNvGrpSpPr>
            <a:grpSpLocks/>
          </p:cNvGrpSpPr>
          <p:nvPr/>
        </p:nvGrpSpPr>
        <p:grpSpPr bwMode="auto">
          <a:xfrm>
            <a:off x="3302000" y="1289844"/>
            <a:ext cx="1073150" cy="977900"/>
            <a:chOff x="1920" y="728"/>
            <a:chExt cx="624" cy="616"/>
          </a:xfrm>
        </p:grpSpPr>
        <p:pic>
          <p:nvPicPr>
            <p:cNvPr id="10306" name="Image.jp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64" t="20624" r="81581" b="71419"/>
            <a:stretch>
              <a:fillRect/>
            </a:stretch>
          </p:blipFill>
          <p:spPr bwMode="auto">
            <a:xfrm>
              <a:off x="1920" y="728"/>
              <a:ext cx="525" cy="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07" name="Text Box 142"/>
            <p:cNvSpPr txBox="1">
              <a:spLocks noChangeArrowheads="1"/>
            </p:cNvSpPr>
            <p:nvPr/>
          </p:nvSpPr>
          <p:spPr bwMode="auto">
            <a:xfrm>
              <a:off x="1968" y="1056"/>
              <a:ext cx="576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/>
                <a:t>Flight Departure</a:t>
              </a:r>
            </a:p>
          </p:txBody>
        </p:sp>
      </p:grpSp>
      <p:grpSp>
        <p:nvGrpSpPr>
          <p:cNvPr id="8" name="Group 76"/>
          <p:cNvGrpSpPr>
            <a:grpSpLocks/>
          </p:cNvGrpSpPr>
          <p:nvPr/>
        </p:nvGrpSpPr>
        <p:grpSpPr bwMode="auto">
          <a:xfrm>
            <a:off x="5861050" y="1193006"/>
            <a:ext cx="990600" cy="1079500"/>
            <a:chOff x="3408" y="667"/>
            <a:chExt cx="576" cy="680"/>
          </a:xfrm>
        </p:grpSpPr>
        <p:pic>
          <p:nvPicPr>
            <p:cNvPr id="10304" name="Image.jp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352" t="18671" r="9184" b="67282"/>
            <a:stretch>
              <a:fillRect/>
            </a:stretch>
          </p:blipFill>
          <p:spPr bwMode="auto">
            <a:xfrm>
              <a:off x="3552" y="667"/>
              <a:ext cx="404" cy="3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05" name="Text Box 143"/>
            <p:cNvSpPr txBox="1">
              <a:spLocks noChangeArrowheads="1"/>
            </p:cNvSpPr>
            <p:nvPr/>
          </p:nvSpPr>
          <p:spPr bwMode="auto">
            <a:xfrm>
              <a:off x="3408" y="1056"/>
              <a:ext cx="576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 dirty="0"/>
                <a:t>Customs</a:t>
              </a:r>
              <a:r>
                <a:rPr lang="en-US" sz="1200" dirty="0" smtClean="0"/>
                <a:t>/</a:t>
              </a:r>
              <a:br>
                <a:rPr lang="en-US" sz="1200" dirty="0" smtClean="0"/>
              </a:br>
              <a:r>
                <a:rPr lang="en-US" sz="1200" dirty="0" smtClean="0"/>
                <a:t>OGA</a:t>
              </a:r>
              <a:endParaRPr lang="en-US" sz="1200" dirty="0"/>
            </a:p>
          </p:txBody>
        </p:sp>
      </p:grpSp>
      <p:grpSp>
        <p:nvGrpSpPr>
          <p:cNvPr id="9" name="Group 77"/>
          <p:cNvGrpSpPr>
            <a:grpSpLocks/>
          </p:cNvGrpSpPr>
          <p:nvPr/>
        </p:nvGrpSpPr>
        <p:grpSpPr bwMode="auto">
          <a:xfrm>
            <a:off x="7016750" y="1289844"/>
            <a:ext cx="908050" cy="1166813"/>
            <a:chOff x="4080" y="728"/>
            <a:chExt cx="528" cy="735"/>
          </a:xfrm>
        </p:grpSpPr>
        <p:pic>
          <p:nvPicPr>
            <p:cNvPr id="10302" name="Image.jp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64" t="20624" r="81581" b="71419"/>
            <a:stretch>
              <a:fillRect/>
            </a:stretch>
          </p:blipFill>
          <p:spPr bwMode="auto">
            <a:xfrm>
              <a:off x="4080" y="728"/>
              <a:ext cx="525" cy="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03" name="Text Box 145"/>
            <p:cNvSpPr txBox="1">
              <a:spLocks noChangeArrowheads="1"/>
            </p:cNvSpPr>
            <p:nvPr/>
          </p:nvSpPr>
          <p:spPr bwMode="auto">
            <a:xfrm>
              <a:off x="4176" y="1056"/>
              <a:ext cx="432" cy="4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 dirty="0"/>
                <a:t>Flight </a:t>
              </a:r>
              <a:r>
                <a:rPr lang="en-US" sz="1200" dirty="0" smtClean="0"/>
                <a:t>Arrival/Release</a:t>
              </a:r>
              <a:endParaRPr lang="en-US" sz="1200" dirty="0"/>
            </a:p>
          </p:txBody>
        </p:sp>
      </p:grpSp>
      <p:grpSp>
        <p:nvGrpSpPr>
          <p:cNvPr id="10" name="Group 72"/>
          <p:cNvGrpSpPr>
            <a:grpSpLocks/>
          </p:cNvGrpSpPr>
          <p:nvPr/>
        </p:nvGrpSpPr>
        <p:grpSpPr bwMode="auto">
          <a:xfrm>
            <a:off x="1155700" y="1124744"/>
            <a:ext cx="1155700" cy="1331912"/>
            <a:chOff x="672" y="624"/>
            <a:chExt cx="672" cy="839"/>
          </a:xfrm>
        </p:grpSpPr>
        <p:pic>
          <p:nvPicPr>
            <p:cNvPr id="10300" name="Image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880" t="21562" r="64249" b="67816"/>
            <a:stretch>
              <a:fillRect/>
            </a:stretch>
          </p:blipFill>
          <p:spPr bwMode="auto">
            <a:xfrm>
              <a:off x="672" y="624"/>
              <a:ext cx="432" cy="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01" name="Text Box 146"/>
            <p:cNvSpPr txBox="1">
              <a:spLocks noChangeArrowheads="1"/>
            </p:cNvSpPr>
            <p:nvPr/>
          </p:nvSpPr>
          <p:spPr bwMode="auto">
            <a:xfrm>
              <a:off x="672" y="1056"/>
              <a:ext cx="672" cy="4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/>
                <a:t>Input Shipment Data</a:t>
              </a:r>
            </a:p>
          </p:txBody>
        </p:sp>
      </p:grpSp>
      <p:grpSp>
        <p:nvGrpSpPr>
          <p:cNvPr id="11" name="Group 73"/>
          <p:cNvGrpSpPr>
            <a:grpSpLocks/>
          </p:cNvGrpSpPr>
          <p:nvPr/>
        </p:nvGrpSpPr>
        <p:grpSpPr bwMode="auto">
          <a:xfrm>
            <a:off x="2311400" y="1362870"/>
            <a:ext cx="990600" cy="904875"/>
            <a:chOff x="1344" y="774"/>
            <a:chExt cx="576" cy="570"/>
          </a:xfrm>
        </p:grpSpPr>
        <p:sp>
          <p:nvSpPr>
            <p:cNvPr id="10298" name="laptop"/>
            <p:cNvSpPr>
              <a:spLocks noEditPoints="1" noChangeArrowheads="1"/>
            </p:cNvSpPr>
            <p:nvPr/>
          </p:nvSpPr>
          <p:spPr bwMode="auto">
            <a:xfrm>
              <a:off x="1440" y="774"/>
              <a:ext cx="336" cy="282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4436 w 21600"/>
                <a:gd name="T25" fmla="*/ 1838 h 21600"/>
                <a:gd name="T26" fmla="*/ 17293 w 21600"/>
                <a:gd name="T27" fmla="*/ 12332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 extrusionOk="0">
                  <a:moveTo>
                    <a:pt x="3362" y="0"/>
                  </a:moveTo>
                  <a:lnTo>
                    <a:pt x="18327" y="0"/>
                  </a:lnTo>
                  <a:lnTo>
                    <a:pt x="18327" y="14347"/>
                  </a:lnTo>
                  <a:lnTo>
                    <a:pt x="3362" y="14347"/>
                  </a:lnTo>
                  <a:lnTo>
                    <a:pt x="3362" y="0"/>
                  </a:lnTo>
                  <a:close/>
                </a:path>
                <a:path w="21600" h="21600" extrusionOk="0">
                  <a:moveTo>
                    <a:pt x="3340" y="15068"/>
                  </a:moveTo>
                  <a:lnTo>
                    <a:pt x="0" y="19877"/>
                  </a:lnTo>
                  <a:lnTo>
                    <a:pt x="21600" y="19877"/>
                  </a:lnTo>
                  <a:lnTo>
                    <a:pt x="18327" y="15068"/>
                  </a:lnTo>
                  <a:lnTo>
                    <a:pt x="3340" y="15068"/>
                  </a:lnTo>
                  <a:close/>
                </a:path>
                <a:path w="21600" h="21600" extrusionOk="0">
                  <a:moveTo>
                    <a:pt x="0" y="19877"/>
                  </a:moveTo>
                  <a:lnTo>
                    <a:pt x="0" y="21600"/>
                  </a:lnTo>
                  <a:lnTo>
                    <a:pt x="21600" y="21600"/>
                  </a:lnTo>
                  <a:lnTo>
                    <a:pt x="21600" y="19877"/>
                  </a:lnTo>
                  <a:lnTo>
                    <a:pt x="0" y="19877"/>
                  </a:lnTo>
                  <a:close/>
                </a:path>
                <a:path w="21600" h="21600" extrusionOk="0">
                  <a:moveTo>
                    <a:pt x="4186" y="1523"/>
                  </a:moveTo>
                  <a:lnTo>
                    <a:pt x="17547" y="1523"/>
                  </a:lnTo>
                  <a:lnTo>
                    <a:pt x="17547" y="12744"/>
                  </a:lnTo>
                  <a:lnTo>
                    <a:pt x="4186" y="12744"/>
                  </a:lnTo>
                  <a:lnTo>
                    <a:pt x="4186" y="1523"/>
                  </a:lnTo>
                  <a:close/>
                </a:path>
                <a:path w="21600" h="21600" extrusionOk="0">
                  <a:moveTo>
                    <a:pt x="3318" y="15549"/>
                  </a:moveTo>
                  <a:lnTo>
                    <a:pt x="2917" y="16110"/>
                  </a:lnTo>
                  <a:lnTo>
                    <a:pt x="18727" y="16110"/>
                  </a:lnTo>
                  <a:lnTo>
                    <a:pt x="18327" y="15549"/>
                  </a:lnTo>
                  <a:lnTo>
                    <a:pt x="3318" y="15549"/>
                  </a:lnTo>
                  <a:close/>
                </a:path>
                <a:path w="21600" h="21600" extrusionOk="0">
                  <a:moveTo>
                    <a:pt x="6213" y="18314"/>
                  </a:moveTo>
                  <a:lnTo>
                    <a:pt x="5946" y="18875"/>
                  </a:lnTo>
                  <a:lnTo>
                    <a:pt x="15766" y="18875"/>
                  </a:lnTo>
                  <a:lnTo>
                    <a:pt x="15499" y="18314"/>
                  </a:lnTo>
                  <a:lnTo>
                    <a:pt x="6213" y="18314"/>
                  </a:lnTo>
                  <a:close/>
                </a:path>
                <a:path w="21600" h="21600" extrusionOk="0">
                  <a:moveTo>
                    <a:pt x="2828" y="16471"/>
                  </a:moveTo>
                  <a:lnTo>
                    <a:pt x="2405" y="17072"/>
                  </a:lnTo>
                  <a:lnTo>
                    <a:pt x="19284" y="17072"/>
                  </a:lnTo>
                  <a:lnTo>
                    <a:pt x="18839" y="16471"/>
                  </a:lnTo>
                  <a:lnTo>
                    <a:pt x="2828" y="16471"/>
                  </a:lnTo>
                  <a:close/>
                </a:path>
                <a:path w="21600" h="21600" extrusionOk="0">
                  <a:moveTo>
                    <a:pt x="2316" y="17352"/>
                  </a:moveTo>
                  <a:lnTo>
                    <a:pt x="1871" y="17953"/>
                  </a:lnTo>
                  <a:lnTo>
                    <a:pt x="19863" y="17953"/>
                  </a:lnTo>
                  <a:lnTo>
                    <a:pt x="19395" y="17352"/>
                  </a:lnTo>
                  <a:lnTo>
                    <a:pt x="2316" y="17352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99" name="Text Box 147"/>
            <p:cNvSpPr txBox="1">
              <a:spLocks noChangeArrowheads="1"/>
            </p:cNvSpPr>
            <p:nvPr/>
          </p:nvSpPr>
          <p:spPr bwMode="auto">
            <a:xfrm>
              <a:off x="1344" y="1056"/>
              <a:ext cx="576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/>
                <a:t>Targeting Systems</a:t>
              </a:r>
            </a:p>
          </p:txBody>
        </p:sp>
      </p:grpSp>
      <p:grpSp>
        <p:nvGrpSpPr>
          <p:cNvPr id="12" name="Group 164"/>
          <p:cNvGrpSpPr>
            <a:grpSpLocks/>
          </p:cNvGrpSpPr>
          <p:nvPr/>
        </p:nvGrpSpPr>
        <p:grpSpPr bwMode="auto">
          <a:xfrm>
            <a:off x="2311400" y="2293279"/>
            <a:ext cx="1485900" cy="533400"/>
            <a:chOff x="240" y="1008"/>
            <a:chExt cx="1152" cy="336"/>
          </a:xfrm>
          <a:solidFill>
            <a:schemeClr val="accent3">
              <a:lumMod val="75000"/>
            </a:schemeClr>
          </a:solidFill>
        </p:grpSpPr>
        <p:sp>
          <p:nvSpPr>
            <p:cNvPr id="3" name="AutoShape 165"/>
            <p:cNvSpPr>
              <a:spLocks noChangeArrowheads="1"/>
            </p:cNvSpPr>
            <p:nvPr/>
          </p:nvSpPr>
          <p:spPr bwMode="auto">
            <a:xfrm>
              <a:off x="240" y="1008"/>
              <a:ext cx="1152" cy="336"/>
            </a:xfrm>
            <a:prstGeom prst="notchedRightArrow">
              <a:avLst>
                <a:gd name="adj1" fmla="val 50000"/>
                <a:gd name="adj2" fmla="val 85714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0297" name="Text Box 166"/>
            <p:cNvSpPr txBox="1">
              <a:spLocks noChangeArrowheads="1"/>
            </p:cNvSpPr>
            <p:nvPr/>
          </p:nvSpPr>
          <p:spPr bwMode="auto">
            <a:xfrm>
              <a:off x="451" y="1080"/>
              <a:ext cx="816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 b="1" dirty="0"/>
                <a:t>Security</a:t>
              </a:r>
            </a:p>
          </p:txBody>
        </p:sp>
      </p:grpSp>
      <p:grpSp>
        <p:nvGrpSpPr>
          <p:cNvPr id="13" name="Group 75"/>
          <p:cNvGrpSpPr>
            <a:grpSpLocks/>
          </p:cNvGrpSpPr>
          <p:nvPr/>
        </p:nvGrpSpPr>
        <p:grpSpPr bwMode="auto">
          <a:xfrm>
            <a:off x="4705350" y="1124744"/>
            <a:ext cx="990600" cy="1147762"/>
            <a:chOff x="2736" y="624"/>
            <a:chExt cx="576" cy="723"/>
          </a:xfrm>
        </p:grpSpPr>
        <p:pic>
          <p:nvPicPr>
            <p:cNvPr id="10294" name="Image.jp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249" t="21562" r="28880" b="67816"/>
            <a:stretch>
              <a:fillRect/>
            </a:stretch>
          </p:blipFill>
          <p:spPr bwMode="auto">
            <a:xfrm>
              <a:off x="2784" y="624"/>
              <a:ext cx="432" cy="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295" name="Text Box 170"/>
            <p:cNvSpPr txBox="1">
              <a:spLocks noChangeArrowheads="1"/>
            </p:cNvSpPr>
            <p:nvPr/>
          </p:nvSpPr>
          <p:spPr bwMode="auto">
            <a:xfrm>
              <a:off x="2736" y="1056"/>
              <a:ext cx="576" cy="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sz="1200"/>
                <a:t>Brokerage Proce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57321919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62000" y="235089"/>
            <a:ext cx="8839200" cy="1143000"/>
          </a:xfrm>
        </p:spPr>
        <p:txBody>
          <a:bodyPr>
            <a:normAutofit/>
          </a:bodyPr>
          <a:lstStyle/>
          <a:p>
            <a:pPr algn="ctr"/>
            <a:r>
              <a:rPr lang="en-US" sz="3000" b="1" dirty="0"/>
              <a:t>Accelerated Border Clearance (ABC)</a:t>
            </a:r>
            <a:br>
              <a:rPr lang="en-US" sz="3000" b="1" dirty="0"/>
            </a:br>
            <a:r>
              <a:rPr lang="en-US" sz="3000" b="1" dirty="0" smtClean="0"/>
              <a:t>Foundational </a:t>
            </a:r>
            <a:r>
              <a:rPr lang="en-US" sz="3000" b="1" dirty="0"/>
              <a:t>Principals          </a:t>
            </a:r>
            <a:endParaRPr lang="en-US" sz="12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762000" y="1641187"/>
            <a:ext cx="8382000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nsistent with existing CBP policies and proced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nnects dots of successful CBP programs 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C-TPA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Importer Self Assessmen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Centers of Excellence &amp; Expertis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Global Entr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Foreign Trade Zones 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ntinues to show CBP’s leadership implementing innovative programs that enhance security, compliance, and improve trade facilitation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odel the way for other countries and global harmonization</a:t>
            </a:r>
          </a:p>
          <a:p>
            <a:endParaRPr lang="en-US" i="1" dirty="0" smtClean="0"/>
          </a:p>
          <a:p>
            <a:endParaRPr lang="en-US" dirty="0"/>
          </a:p>
          <a:p>
            <a:endParaRPr lang="en-US" sz="1500" dirty="0"/>
          </a:p>
          <a:p>
            <a:endParaRPr lang="en-US" sz="1500" dirty="0"/>
          </a:p>
          <a:p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66861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0" y="850898"/>
            <a:ext cx="9274175" cy="585788"/>
          </a:xfrm>
          <a:prstGeom prst="rect">
            <a:avLst/>
          </a:prstGeom>
        </p:spPr>
        <p:txBody>
          <a:bodyPr/>
          <a:lstStyle/>
          <a:p>
            <a:pPr algn="ctr">
              <a:buNone/>
            </a:pPr>
            <a:r>
              <a:rPr lang="en-US" sz="2400" b="1" u="none" dirty="0" smtClean="0">
                <a:ea typeface="Tahoma" pitchFamily="34" charset="0"/>
                <a:cs typeface="Tahoma" pitchFamily="34" charset="0"/>
              </a:rPr>
              <a:t>Requirements for Participation</a:t>
            </a:r>
            <a:endParaRPr lang="en-US" sz="2400" b="1" u="none" dirty="0"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0" y="188640"/>
            <a:ext cx="6124575" cy="584200"/>
          </a:xfrm>
        </p:spPr>
        <p:txBody>
          <a:bodyPr/>
          <a:lstStyle/>
          <a:p>
            <a:r>
              <a:rPr lang="en-US" sz="3200" b="1" dirty="0" smtClean="0">
                <a:latin typeface="+mn-lt"/>
                <a:ea typeface="Tahoma" pitchFamily="34" charset="0"/>
                <a:cs typeface="Tahoma" pitchFamily="34" charset="0"/>
              </a:rPr>
              <a:t>“ABC” Clearance Model</a:t>
            </a:r>
            <a:endParaRPr lang="en-US" sz="3200" b="1" dirty="0"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idx="4294967295"/>
          </p:nvPr>
        </p:nvSpPr>
        <p:spPr>
          <a:xfrm>
            <a:off x="560512" y="1340769"/>
            <a:ext cx="9120534" cy="4575574"/>
          </a:xfrm>
        </p:spPr>
        <p:txBody>
          <a:bodyPr>
            <a:normAutofit lnSpcReduction="10000"/>
          </a:bodyPr>
          <a:lstStyle/>
          <a:p>
            <a:r>
              <a:rPr lang="en-US" sz="2400" b="0" u="none" dirty="0" smtClean="0"/>
              <a:t>To qualify for acceptance in the program, a company must agree to participate in an individual country’s requirements, including:</a:t>
            </a:r>
          </a:p>
          <a:p>
            <a:endParaRPr lang="en-US" sz="2400" b="0" u="none" dirty="0"/>
          </a:p>
          <a:p>
            <a:pPr lvl="1"/>
            <a:r>
              <a:rPr lang="en-US" sz="2400" b="0" dirty="0" smtClean="0">
                <a:latin typeface="+mn-lt"/>
              </a:rPr>
              <a:t>Supply chain security program based on the WCO SAFE Framework of Standards, e.g. Authorized Economic Operator (AEO).</a:t>
            </a:r>
          </a:p>
          <a:p>
            <a:endParaRPr lang="en-US" sz="2400" b="0" u="none" dirty="0"/>
          </a:p>
          <a:p>
            <a:pPr lvl="1"/>
            <a:r>
              <a:rPr lang="en-US" sz="2400" b="0" dirty="0" smtClean="0">
                <a:latin typeface="+mn-lt"/>
              </a:rPr>
              <a:t>Self Assessment and Compliance Programs, e.g. authorized trader.</a:t>
            </a:r>
          </a:p>
          <a:p>
            <a:endParaRPr lang="en-US" sz="2400" b="0" u="none" dirty="0"/>
          </a:p>
          <a:p>
            <a:pPr lvl="1"/>
            <a:r>
              <a:rPr lang="en-US" sz="2400" b="0" dirty="0" smtClean="0">
                <a:latin typeface="+mn-lt"/>
              </a:rPr>
              <a:t>Electronic filing of all relevant border clearance information.</a:t>
            </a:r>
            <a:endParaRPr lang="en-US" sz="2400" b="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736013" y="6580188"/>
            <a:ext cx="1169987" cy="277812"/>
          </a:xfrm>
        </p:spPr>
        <p:txBody>
          <a:bodyPr/>
          <a:lstStyle/>
          <a:p>
            <a:pPr>
              <a:defRPr/>
            </a:pPr>
            <a:fld id="{4388EA56-FFC3-423A-86ED-21FAC1EE3800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2882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1664" y="-171400"/>
            <a:ext cx="8839200" cy="1060311"/>
          </a:xfrm>
        </p:spPr>
        <p:txBody>
          <a:bodyPr>
            <a:normAutofit/>
          </a:bodyPr>
          <a:lstStyle/>
          <a:p>
            <a:pPr algn="ctr"/>
            <a:r>
              <a:rPr lang="en-US" sz="3000" b="1" dirty="0"/>
              <a:t>Accelerated Border Clearance (ABC)</a:t>
            </a:r>
            <a:br>
              <a:rPr lang="en-US" sz="3000" b="1" dirty="0"/>
            </a:br>
            <a:r>
              <a:rPr lang="en-US" sz="3000" b="1" dirty="0"/>
              <a:t>Benefit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14643" y="764704"/>
            <a:ext cx="8382000" cy="724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UTUAL BENEFIT FOR CBP AND TRADE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vides </a:t>
            </a:r>
            <a:r>
              <a:rPr lang="en-US" dirty="0"/>
              <a:t>balanced focus on security, compliance, and trade facilit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duces </a:t>
            </a:r>
            <a:r>
              <a:rPr lang="en-US" dirty="0"/>
              <a:t>bottlenecks and holds at bord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es </a:t>
            </a:r>
            <a:r>
              <a:rPr lang="en-US" dirty="0" smtClean="0"/>
              <a:t>compliance and reduces risk to govern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duces post </a:t>
            </a:r>
            <a:r>
              <a:rPr lang="en-US" dirty="0"/>
              <a:t>entry activity</a:t>
            </a:r>
            <a:r>
              <a:rPr lang="en-US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gram is open to all companies; small, medium, and large.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CBP (and PGA’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vides incentive for more companies to join C-TPAT and IS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llows for greater focus on high risk shipme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vides efficiencies for staffing and plann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mporters take on greater responsibilit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Helps facilitate compliance with IPR and consumer prot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Less compliance concerns and oversight of FTZ’s</a:t>
            </a:r>
          </a:p>
          <a:p>
            <a:r>
              <a:rPr lang="en-US" dirty="0" smtClean="0"/>
              <a:t>  </a:t>
            </a:r>
          </a:p>
          <a:p>
            <a:r>
              <a:rPr lang="en-US" dirty="0" smtClean="0"/>
              <a:t>TRA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turn on investment/tangible benefits for participation in C-TPAT and IS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liability for supply chain.</a:t>
            </a:r>
            <a:endParaRPr lang="en-US" dirty="0"/>
          </a:p>
          <a:p>
            <a:endParaRPr lang="en-US" dirty="0" smtClean="0"/>
          </a:p>
          <a:p>
            <a:endParaRPr lang="en-US" sz="1500" dirty="0"/>
          </a:p>
          <a:p>
            <a:endParaRPr lang="en-US" sz="1500" dirty="0"/>
          </a:p>
          <a:p>
            <a:endParaRPr lang="en-US" sz="1500" dirty="0"/>
          </a:p>
          <a:p>
            <a:endParaRPr lang="en-US" sz="1500" dirty="0"/>
          </a:p>
          <a:p>
            <a:endParaRPr lang="en-US" sz="1500" dirty="0"/>
          </a:p>
          <a:p>
            <a:endParaRPr lang="en-US" sz="1500" dirty="0"/>
          </a:p>
          <a:p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290173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1&quot;/&gt;&lt;m_eweekdayFirstOfWeekend val=&quot;6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Green and blue">
  <a:themeElements>
    <a:clrScheme name="5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5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5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orate Green and blue" id="{51DA0973-49F2-4328-B9F6-5758ED223A86}" vid="{C9080EC3-D9BE-450A-BBD2-2EAADA8BE80A}"/>
    </a:ext>
  </a:extLst>
</a:theme>
</file>

<file path=ppt/theme/theme10.xml><?xml version="1.0" encoding="utf-8"?>
<a:theme xmlns:a="http://schemas.openxmlformats.org/drawingml/2006/main" name="13_UPS Airlines_Aircraft">
  <a:themeElements>
    <a:clrScheme name="13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13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5_UPS Airlines_Aircraft">
  <a:themeElements>
    <a:clrScheme name="5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5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5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4_UPS Airlines_Aircraft">
  <a:themeElements>
    <a:clrScheme name="6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6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5_UPS Airlines_Aircraft">
  <a:themeElements>
    <a:clrScheme name="11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1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11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6_UPS Airlines_Aircraft">
  <a:themeElements>
    <a:clrScheme name="12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2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12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7_UPS Airlines_Aircraft">
  <a:themeElements>
    <a:clrScheme name="7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7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8_UPS Airlines_Aircraft">
  <a:themeElements>
    <a:clrScheme name="8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8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8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9_UPS Airlines_Aircraft">
  <a:themeElements>
    <a:clrScheme name="9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9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9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20_UPS Airlines_Aircraft">
  <a:themeElements>
    <a:clrScheme name="10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0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10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_Chart">
  <a:themeElements>
    <a:clrScheme name="Cha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hart">
      <a:majorFont>
        <a:latin typeface="Arial"/>
        <a:ea typeface="ＭＳ Ｐゴシック"/>
        <a:cs typeface="Arial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Cha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UPS Airlines_Aircraft">
  <a:themeElements>
    <a:clrScheme name="6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6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6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21_UPS Airlines_Aircraft">
  <a:themeElements>
    <a:clrScheme name="13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13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2_Custom Design">
  <a:themeElements>
    <a:clrScheme name="2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Custom Design">
      <a:majorFont>
        <a:latin typeface="UPSSans Extra Bold Ext"/>
        <a:ea typeface=""/>
        <a:cs typeface=""/>
      </a:majorFont>
      <a:minorFont>
        <a:latin typeface="UPSSa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_Custom Design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UPSSans Extra Bold Ext"/>
        <a:ea typeface=""/>
        <a:cs typeface=""/>
      </a:majorFont>
      <a:minorFont>
        <a:latin typeface="UPSSa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3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UPSSans Extra Bold Ext"/>
        <a:ea typeface=""/>
        <a:cs typeface=""/>
      </a:majorFont>
      <a:minorFont>
        <a:latin typeface="UPSSa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4_Custom Design">
  <a:themeElements>
    <a:clrScheme name="4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Custom Design">
      <a:majorFont>
        <a:latin typeface="UPSSans Extra Bold Ext"/>
        <a:ea typeface=""/>
        <a:cs typeface=""/>
      </a:majorFont>
      <a:minorFont>
        <a:latin typeface="UPSSa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UPSSans Extra Bold Ext"/>
        <a:ea typeface=""/>
        <a:cs typeface=""/>
      </a:majorFont>
      <a:minorFont>
        <a:latin typeface="UPSSa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5_Custom Design">
  <a:themeElements>
    <a:clrScheme name="5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5_Custom Design">
      <a:majorFont>
        <a:latin typeface="UPSSans Extra Bold Ext"/>
        <a:ea typeface=""/>
        <a:cs typeface=""/>
      </a:majorFont>
      <a:minorFont>
        <a:latin typeface="UPSSa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5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6_Custom Design">
  <a:themeElements>
    <a:clrScheme name="6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6_Custom Design">
      <a:majorFont>
        <a:latin typeface="UPSSans Extra Bold Ext"/>
        <a:ea typeface=""/>
        <a:cs typeface=""/>
      </a:majorFont>
      <a:minorFont>
        <a:latin typeface="UPSSa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7_Custom Design">
  <a:themeElements>
    <a:clrScheme name="7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7_Custom Design">
      <a:majorFont>
        <a:latin typeface="UPSSans Extra Bold Ext"/>
        <a:ea typeface=""/>
        <a:cs typeface=""/>
      </a:majorFont>
      <a:minorFont>
        <a:latin typeface="UPSSan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1_UPS Airlines_Aircraft">
  <a:themeElements>
    <a:clrScheme name="11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1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11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0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2_UPS Airlines_Aircraft">
  <a:themeElements>
    <a:clrScheme name="12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2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12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7_UPS Airlines_Aircraft">
  <a:themeElements>
    <a:clrScheme name="7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7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7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8_UPS Airlines_Aircraft">
  <a:themeElements>
    <a:clrScheme name="8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8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8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9_UPS Airlines_Aircraft">
  <a:themeElements>
    <a:clrScheme name="9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9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9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0_UPS Airlines_Aircraft">
  <a:themeElements>
    <a:clrScheme name="10_UPS Airlines_Aircraft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0_UPS Airlines_Aircraft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10_UPS Airlines_Aircraft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Chart">
  <a:themeElements>
    <a:clrScheme name="Char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hart">
      <a:majorFont>
        <a:latin typeface="Arial"/>
        <a:ea typeface="ＭＳ Ｐゴシック"/>
        <a:cs typeface="Arial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Char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r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r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r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r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har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har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rporate Green and blue</Template>
  <TotalTime>113</TotalTime>
  <Words>656</Words>
  <Application>Microsoft Office PowerPoint</Application>
  <PresentationFormat>A4 Paper (210x297 mm)</PresentationFormat>
  <Paragraphs>123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47" baseType="lpstr">
      <vt:lpstr>ＭＳ Ｐゴシック</vt:lpstr>
      <vt:lpstr>Arial</vt:lpstr>
      <vt:lpstr>Arial Narrow</vt:lpstr>
      <vt:lpstr>Calibri</vt:lpstr>
      <vt:lpstr>Sabon LT Std</vt:lpstr>
      <vt:lpstr>Tahoma</vt:lpstr>
      <vt:lpstr>Times New Roman</vt:lpstr>
      <vt:lpstr>UPSSans Extra Bold Ext</vt:lpstr>
      <vt:lpstr>UPSSans Medium</vt:lpstr>
      <vt:lpstr>Corporate Green and blue</vt:lpstr>
      <vt:lpstr>6_UPS Airlines_Aircraft</vt:lpstr>
      <vt:lpstr>11_UPS Airlines_Aircraft</vt:lpstr>
      <vt:lpstr>12_UPS Airlines_Aircraft</vt:lpstr>
      <vt:lpstr>7_UPS Airlines_Aircraft</vt:lpstr>
      <vt:lpstr>8_UPS Airlines_Aircraft</vt:lpstr>
      <vt:lpstr>9_UPS Airlines_Aircraft</vt:lpstr>
      <vt:lpstr>10_UPS Airlines_Aircraft</vt:lpstr>
      <vt:lpstr>Chart</vt:lpstr>
      <vt:lpstr>13_UPS Airlines_Aircraft</vt:lpstr>
      <vt:lpstr>5_UPS Airlines_Aircraft</vt:lpstr>
      <vt:lpstr>14_UPS Airlines_Aircraft</vt:lpstr>
      <vt:lpstr>15_UPS Airlines_Aircraft</vt:lpstr>
      <vt:lpstr>16_UPS Airlines_Aircraft</vt:lpstr>
      <vt:lpstr>17_UPS Airlines_Aircraft</vt:lpstr>
      <vt:lpstr>18_UPS Airlines_Aircraft</vt:lpstr>
      <vt:lpstr>19_UPS Airlines_Aircraft</vt:lpstr>
      <vt:lpstr>20_UPS Airlines_Aircraft</vt:lpstr>
      <vt:lpstr>1_Chart</vt:lpstr>
      <vt:lpstr>21_UPS Airlines_Aircraft</vt:lpstr>
      <vt:lpstr>2_Custom Design</vt:lpstr>
      <vt:lpstr>1_Custom Design</vt:lpstr>
      <vt:lpstr>3_Custom Design</vt:lpstr>
      <vt:lpstr>4_Custom Design</vt:lpstr>
      <vt:lpstr>Custom Design</vt:lpstr>
      <vt:lpstr>5_Custom Design</vt:lpstr>
      <vt:lpstr>6_Custom Design</vt:lpstr>
      <vt:lpstr>8_Custom Design</vt:lpstr>
      <vt:lpstr>7_Custom Design</vt:lpstr>
      <vt:lpstr>think-cell Folie</vt:lpstr>
      <vt:lpstr>“ABC – Accelerated Border Clearance”   An Innovative Idea by  Global Express Association (GEA)</vt:lpstr>
      <vt:lpstr>“ABC” Clearance Model</vt:lpstr>
      <vt:lpstr>“ABC” Clearance Model</vt:lpstr>
      <vt:lpstr>“ABC” Clearance Model</vt:lpstr>
      <vt:lpstr>PowerPoint Presentation</vt:lpstr>
      <vt:lpstr>Accelerated Border Clearance (ABC) Foundational Principals          </vt:lpstr>
      <vt:lpstr>“ABC” Clearance Model</vt:lpstr>
      <vt:lpstr>Accelerated Border Clearance (ABC) Benefit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sk Assessment Model Information Bar</dc:title>
  <dc:creator>Dietmar Jost</dc:creator>
  <cp:lastModifiedBy>Schenk Norm (bro1nxs)</cp:lastModifiedBy>
  <cp:revision>49</cp:revision>
  <cp:lastPrinted>2015-06-23T12:56:54Z</cp:lastPrinted>
  <dcterms:created xsi:type="dcterms:W3CDTF">2014-01-24T10:37:05Z</dcterms:created>
  <dcterms:modified xsi:type="dcterms:W3CDTF">2015-06-23T13:13:00Z</dcterms:modified>
</cp:coreProperties>
</file>